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6"/>
  </p:notesMasterIdLst>
  <p:sldIdLst>
    <p:sldId id="259" r:id="rId3"/>
    <p:sldId id="257" r:id="rId4"/>
    <p:sldId id="258" r:id="rId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59" d="100"/>
          <a:sy n="59" d="100"/>
        </p:scale>
        <p:origin x="-1602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1A8BE1-1F4A-4B5D-829F-13E61EC23A9A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EDCA13-2AC0-48F2-8A55-450D8EE4E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005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49300" y="573088"/>
            <a:ext cx="5365750" cy="40243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lIns="91435" tIns="45718" rIns="91435" bIns="45718"/>
          <a:lstStyle/>
          <a:p>
            <a:pPr>
              <a:defRPr/>
            </a:pPr>
            <a:r>
              <a:rPr lang="en-US" dirty="0" err="1" smtClean="0">
                <a:solidFill>
                  <a:prstClr val="black"/>
                </a:solidFill>
              </a:rPr>
              <a:t>aa</a:t>
            </a:r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4139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410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9247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1"/>
          <p:cNvGrpSpPr>
            <a:grpSpLocks/>
          </p:cNvGrpSpPr>
          <p:nvPr userDrawn="1"/>
        </p:nvGrpSpPr>
        <p:grpSpPr bwMode="auto">
          <a:xfrm>
            <a:off x="463551" y="466727"/>
            <a:ext cx="1831975" cy="625475"/>
            <a:chOff x="363538" y="466726"/>
            <a:chExt cx="1831975" cy="625475"/>
          </a:xfrm>
        </p:grpSpPr>
        <p:sp>
          <p:nvSpPr>
            <p:cNvPr id="7" name="Freeform 7"/>
            <p:cNvSpPr>
              <a:spLocks noEditPoints="1"/>
            </p:cNvSpPr>
            <p:nvPr userDrawn="1"/>
          </p:nvSpPr>
          <p:spPr bwMode="gray">
            <a:xfrm>
              <a:off x="482601" y="901701"/>
              <a:ext cx="1712912" cy="190500"/>
            </a:xfrm>
            <a:custGeom>
              <a:avLst/>
              <a:gdLst/>
              <a:ahLst/>
              <a:cxnLst>
                <a:cxn ang="0">
                  <a:pos x="28318" y="3136"/>
                </a:cxn>
                <a:cxn ang="0">
                  <a:pos x="30217" y="3756"/>
                </a:cxn>
                <a:cxn ang="0">
                  <a:pos x="29740" y="2668"/>
                </a:cxn>
                <a:cxn ang="0">
                  <a:pos x="30128" y="703"/>
                </a:cxn>
                <a:cxn ang="0">
                  <a:pos x="30597" y="0"/>
                </a:cxn>
                <a:cxn ang="0">
                  <a:pos x="26804" y="228"/>
                </a:cxn>
                <a:cxn ang="0">
                  <a:pos x="27408" y="5260"/>
                </a:cxn>
                <a:cxn ang="0">
                  <a:pos x="30678" y="5667"/>
                </a:cxn>
                <a:cxn ang="0">
                  <a:pos x="30202" y="5199"/>
                </a:cxn>
                <a:cxn ang="0">
                  <a:pos x="51313" y="630"/>
                </a:cxn>
                <a:cxn ang="0">
                  <a:pos x="47090" y="228"/>
                </a:cxn>
                <a:cxn ang="0">
                  <a:pos x="47867" y="903"/>
                </a:cxn>
                <a:cxn ang="0">
                  <a:pos x="47254" y="5667"/>
                </a:cxn>
                <a:cxn ang="0">
                  <a:pos x="48376" y="5260"/>
                </a:cxn>
                <a:cxn ang="0">
                  <a:pos x="51823" y="5757"/>
                </a:cxn>
                <a:cxn ang="0">
                  <a:pos x="52429" y="228"/>
                </a:cxn>
                <a:cxn ang="0">
                  <a:pos x="40985" y="2955"/>
                </a:cxn>
                <a:cxn ang="0">
                  <a:pos x="43694" y="130"/>
                </a:cxn>
                <a:cxn ang="0">
                  <a:pos x="43703" y="656"/>
                </a:cxn>
                <a:cxn ang="0">
                  <a:pos x="22403" y="4138"/>
                </a:cxn>
                <a:cxn ang="0">
                  <a:pos x="19053" y="630"/>
                </a:cxn>
                <a:cxn ang="0">
                  <a:pos x="19053" y="5260"/>
                </a:cxn>
                <a:cxn ang="0">
                  <a:pos x="20790" y="5260"/>
                </a:cxn>
                <a:cxn ang="0">
                  <a:pos x="22205" y="5821"/>
                </a:cxn>
                <a:cxn ang="0">
                  <a:pos x="23526" y="5260"/>
                </a:cxn>
                <a:cxn ang="0">
                  <a:pos x="25647" y="5260"/>
                </a:cxn>
                <a:cxn ang="0">
                  <a:pos x="25647" y="630"/>
                </a:cxn>
                <a:cxn ang="0">
                  <a:pos x="22403" y="4138"/>
                </a:cxn>
                <a:cxn ang="0">
                  <a:pos x="33514" y="630"/>
                </a:cxn>
                <a:cxn ang="0">
                  <a:pos x="31997" y="228"/>
                </a:cxn>
                <a:cxn ang="0">
                  <a:pos x="32604" y="5260"/>
                </a:cxn>
                <a:cxn ang="0">
                  <a:pos x="35780" y="5667"/>
                </a:cxn>
                <a:cxn ang="0">
                  <a:pos x="35303" y="5199"/>
                </a:cxn>
                <a:cxn ang="0">
                  <a:pos x="38171" y="630"/>
                </a:cxn>
                <a:cxn ang="0">
                  <a:pos x="36654" y="228"/>
                </a:cxn>
                <a:cxn ang="0">
                  <a:pos x="37263" y="5260"/>
                </a:cxn>
                <a:cxn ang="0">
                  <a:pos x="40438" y="5667"/>
                </a:cxn>
                <a:cxn ang="0">
                  <a:pos x="39964" y="5199"/>
                </a:cxn>
                <a:cxn ang="0">
                  <a:pos x="13736" y="2558"/>
                </a:cxn>
                <a:cxn ang="0">
                  <a:pos x="13111" y="228"/>
                </a:cxn>
                <a:cxn ang="0">
                  <a:pos x="11404" y="630"/>
                </a:cxn>
                <a:cxn ang="0">
                  <a:pos x="12453" y="5260"/>
                </a:cxn>
                <a:cxn ang="0">
                  <a:pos x="14574" y="5260"/>
                </a:cxn>
                <a:cxn ang="0">
                  <a:pos x="15489" y="630"/>
                </a:cxn>
                <a:cxn ang="0">
                  <a:pos x="14209" y="228"/>
                </a:cxn>
                <a:cxn ang="0">
                  <a:pos x="4078" y="1603"/>
                </a:cxn>
                <a:cxn ang="0">
                  <a:pos x="0" y="630"/>
                </a:cxn>
                <a:cxn ang="0">
                  <a:pos x="0" y="5260"/>
                </a:cxn>
                <a:cxn ang="0">
                  <a:pos x="4337" y="4224"/>
                </a:cxn>
                <a:cxn ang="0">
                  <a:pos x="2182" y="703"/>
                </a:cxn>
                <a:cxn ang="0">
                  <a:pos x="1516" y="2611"/>
                </a:cxn>
                <a:cxn ang="0">
                  <a:pos x="1516" y="5199"/>
                </a:cxn>
                <a:cxn ang="0">
                  <a:pos x="3406" y="4182"/>
                </a:cxn>
                <a:cxn ang="0">
                  <a:pos x="9385" y="630"/>
                </a:cxn>
                <a:cxn ang="0">
                  <a:pos x="5164" y="228"/>
                </a:cxn>
                <a:cxn ang="0">
                  <a:pos x="5937" y="903"/>
                </a:cxn>
                <a:cxn ang="0">
                  <a:pos x="5323" y="5667"/>
                </a:cxn>
                <a:cxn ang="0">
                  <a:pos x="6448" y="5261"/>
                </a:cxn>
                <a:cxn ang="0">
                  <a:pos x="9893" y="5757"/>
                </a:cxn>
                <a:cxn ang="0">
                  <a:pos x="10500" y="228"/>
                </a:cxn>
              </a:cxnLst>
              <a:rect l="0" t="0" r="r" b="b"/>
              <a:pathLst>
                <a:path w="52429" h="5821">
                  <a:moveTo>
                    <a:pt x="30202" y="5199"/>
                  </a:moveTo>
                  <a:lnTo>
                    <a:pt x="28318" y="5199"/>
                  </a:lnTo>
                  <a:lnTo>
                    <a:pt x="28318" y="3136"/>
                  </a:lnTo>
                  <a:lnTo>
                    <a:pt x="29740" y="3136"/>
                  </a:lnTo>
                  <a:lnTo>
                    <a:pt x="29740" y="3756"/>
                  </a:lnTo>
                  <a:lnTo>
                    <a:pt x="30217" y="3756"/>
                  </a:lnTo>
                  <a:lnTo>
                    <a:pt x="30217" y="2057"/>
                  </a:lnTo>
                  <a:lnTo>
                    <a:pt x="29740" y="2057"/>
                  </a:lnTo>
                  <a:lnTo>
                    <a:pt x="29740" y="2668"/>
                  </a:lnTo>
                  <a:lnTo>
                    <a:pt x="28318" y="2668"/>
                  </a:lnTo>
                  <a:lnTo>
                    <a:pt x="28318" y="703"/>
                  </a:lnTo>
                  <a:lnTo>
                    <a:pt x="30128" y="703"/>
                  </a:lnTo>
                  <a:lnTo>
                    <a:pt x="30128" y="1392"/>
                  </a:lnTo>
                  <a:lnTo>
                    <a:pt x="30597" y="1392"/>
                  </a:lnTo>
                  <a:lnTo>
                    <a:pt x="30597" y="0"/>
                  </a:lnTo>
                  <a:lnTo>
                    <a:pt x="30120" y="0"/>
                  </a:lnTo>
                  <a:lnTo>
                    <a:pt x="30120" y="228"/>
                  </a:lnTo>
                  <a:lnTo>
                    <a:pt x="26804" y="228"/>
                  </a:lnTo>
                  <a:lnTo>
                    <a:pt x="26804" y="630"/>
                  </a:lnTo>
                  <a:lnTo>
                    <a:pt x="27408" y="630"/>
                  </a:lnTo>
                  <a:lnTo>
                    <a:pt x="27408" y="5260"/>
                  </a:lnTo>
                  <a:lnTo>
                    <a:pt x="26804" y="5260"/>
                  </a:lnTo>
                  <a:lnTo>
                    <a:pt x="26804" y="5667"/>
                  </a:lnTo>
                  <a:lnTo>
                    <a:pt x="30678" y="5667"/>
                  </a:lnTo>
                  <a:lnTo>
                    <a:pt x="30678" y="4486"/>
                  </a:lnTo>
                  <a:lnTo>
                    <a:pt x="30202" y="4486"/>
                  </a:lnTo>
                  <a:lnTo>
                    <a:pt x="30202" y="5199"/>
                  </a:lnTo>
                  <a:close/>
                  <a:moveTo>
                    <a:pt x="50699" y="228"/>
                  </a:moveTo>
                  <a:lnTo>
                    <a:pt x="50699" y="630"/>
                  </a:lnTo>
                  <a:lnTo>
                    <a:pt x="51313" y="630"/>
                  </a:lnTo>
                  <a:lnTo>
                    <a:pt x="51313" y="4079"/>
                  </a:lnTo>
                  <a:lnTo>
                    <a:pt x="48500" y="228"/>
                  </a:lnTo>
                  <a:lnTo>
                    <a:pt x="47090" y="228"/>
                  </a:lnTo>
                  <a:lnTo>
                    <a:pt x="47090" y="630"/>
                  </a:lnTo>
                  <a:lnTo>
                    <a:pt x="47673" y="630"/>
                  </a:lnTo>
                  <a:lnTo>
                    <a:pt x="47867" y="903"/>
                  </a:lnTo>
                  <a:lnTo>
                    <a:pt x="47867" y="5260"/>
                  </a:lnTo>
                  <a:lnTo>
                    <a:pt x="47254" y="5260"/>
                  </a:lnTo>
                  <a:lnTo>
                    <a:pt x="47254" y="5667"/>
                  </a:lnTo>
                  <a:lnTo>
                    <a:pt x="48991" y="5667"/>
                  </a:lnTo>
                  <a:lnTo>
                    <a:pt x="48991" y="5260"/>
                  </a:lnTo>
                  <a:lnTo>
                    <a:pt x="48376" y="5260"/>
                  </a:lnTo>
                  <a:lnTo>
                    <a:pt x="48376" y="1596"/>
                  </a:lnTo>
                  <a:lnTo>
                    <a:pt x="51399" y="5757"/>
                  </a:lnTo>
                  <a:lnTo>
                    <a:pt x="51823" y="5757"/>
                  </a:lnTo>
                  <a:lnTo>
                    <a:pt x="51823" y="630"/>
                  </a:lnTo>
                  <a:lnTo>
                    <a:pt x="52429" y="630"/>
                  </a:lnTo>
                  <a:lnTo>
                    <a:pt x="52429" y="228"/>
                  </a:lnTo>
                  <a:lnTo>
                    <a:pt x="50699" y="228"/>
                  </a:lnTo>
                  <a:close/>
                  <a:moveTo>
                    <a:pt x="43694" y="130"/>
                  </a:moveTo>
                  <a:cubicBezTo>
                    <a:pt x="42201" y="130"/>
                    <a:pt x="40985" y="1397"/>
                    <a:pt x="40985" y="2955"/>
                  </a:cubicBezTo>
                  <a:cubicBezTo>
                    <a:pt x="40985" y="4508"/>
                    <a:pt x="42201" y="5771"/>
                    <a:pt x="43694" y="5771"/>
                  </a:cubicBezTo>
                  <a:cubicBezTo>
                    <a:pt x="45177" y="5771"/>
                    <a:pt x="46381" y="4504"/>
                    <a:pt x="46381" y="2947"/>
                  </a:cubicBezTo>
                  <a:cubicBezTo>
                    <a:pt x="46381" y="1393"/>
                    <a:pt x="45177" y="130"/>
                    <a:pt x="43694" y="130"/>
                  </a:cubicBezTo>
                  <a:close/>
                  <a:moveTo>
                    <a:pt x="43694" y="5245"/>
                  </a:moveTo>
                  <a:cubicBezTo>
                    <a:pt x="42686" y="5245"/>
                    <a:pt x="41982" y="4299"/>
                    <a:pt x="41982" y="2947"/>
                  </a:cubicBezTo>
                  <a:cubicBezTo>
                    <a:pt x="41982" y="1597"/>
                    <a:pt x="42692" y="656"/>
                    <a:pt x="43703" y="656"/>
                  </a:cubicBezTo>
                  <a:cubicBezTo>
                    <a:pt x="44692" y="656"/>
                    <a:pt x="45384" y="1597"/>
                    <a:pt x="45384" y="2947"/>
                  </a:cubicBezTo>
                  <a:cubicBezTo>
                    <a:pt x="45384" y="4299"/>
                    <a:pt x="44690" y="5245"/>
                    <a:pt x="43694" y="5245"/>
                  </a:cubicBezTo>
                  <a:close/>
                  <a:moveTo>
                    <a:pt x="22403" y="4138"/>
                  </a:moveTo>
                  <a:lnTo>
                    <a:pt x="20571" y="228"/>
                  </a:lnTo>
                  <a:lnTo>
                    <a:pt x="19053" y="228"/>
                  </a:lnTo>
                  <a:lnTo>
                    <a:pt x="19053" y="630"/>
                  </a:lnTo>
                  <a:lnTo>
                    <a:pt x="19666" y="630"/>
                  </a:lnTo>
                  <a:lnTo>
                    <a:pt x="19666" y="5260"/>
                  </a:lnTo>
                  <a:lnTo>
                    <a:pt x="19053" y="5260"/>
                  </a:lnTo>
                  <a:lnTo>
                    <a:pt x="19053" y="5667"/>
                  </a:lnTo>
                  <a:lnTo>
                    <a:pt x="20790" y="5667"/>
                  </a:lnTo>
                  <a:lnTo>
                    <a:pt x="20790" y="5260"/>
                  </a:lnTo>
                  <a:lnTo>
                    <a:pt x="20177" y="5260"/>
                  </a:lnTo>
                  <a:lnTo>
                    <a:pt x="20177" y="1488"/>
                  </a:lnTo>
                  <a:lnTo>
                    <a:pt x="22205" y="5821"/>
                  </a:lnTo>
                  <a:lnTo>
                    <a:pt x="24131" y="1583"/>
                  </a:lnTo>
                  <a:lnTo>
                    <a:pt x="24131" y="5260"/>
                  </a:lnTo>
                  <a:lnTo>
                    <a:pt x="23526" y="5260"/>
                  </a:lnTo>
                  <a:lnTo>
                    <a:pt x="23526" y="5667"/>
                  </a:lnTo>
                  <a:lnTo>
                    <a:pt x="25647" y="5667"/>
                  </a:lnTo>
                  <a:lnTo>
                    <a:pt x="25647" y="5260"/>
                  </a:lnTo>
                  <a:lnTo>
                    <a:pt x="25039" y="5260"/>
                  </a:lnTo>
                  <a:lnTo>
                    <a:pt x="25039" y="630"/>
                  </a:lnTo>
                  <a:lnTo>
                    <a:pt x="25647" y="630"/>
                  </a:lnTo>
                  <a:lnTo>
                    <a:pt x="25647" y="228"/>
                  </a:lnTo>
                  <a:lnTo>
                    <a:pt x="24205" y="228"/>
                  </a:lnTo>
                  <a:lnTo>
                    <a:pt x="22403" y="4138"/>
                  </a:lnTo>
                  <a:close/>
                  <a:moveTo>
                    <a:pt x="35303" y="5199"/>
                  </a:moveTo>
                  <a:lnTo>
                    <a:pt x="33514" y="5199"/>
                  </a:lnTo>
                  <a:lnTo>
                    <a:pt x="33514" y="630"/>
                  </a:lnTo>
                  <a:lnTo>
                    <a:pt x="34122" y="630"/>
                  </a:lnTo>
                  <a:lnTo>
                    <a:pt x="34122" y="228"/>
                  </a:lnTo>
                  <a:lnTo>
                    <a:pt x="31997" y="228"/>
                  </a:lnTo>
                  <a:lnTo>
                    <a:pt x="31997" y="630"/>
                  </a:lnTo>
                  <a:lnTo>
                    <a:pt x="32604" y="630"/>
                  </a:lnTo>
                  <a:lnTo>
                    <a:pt x="32604" y="5260"/>
                  </a:lnTo>
                  <a:lnTo>
                    <a:pt x="31997" y="5260"/>
                  </a:lnTo>
                  <a:lnTo>
                    <a:pt x="31997" y="5667"/>
                  </a:lnTo>
                  <a:lnTo>
                    <a:pt x="35780" y="5667"/>
                  </a:lnTo>
                  <a:lnTo>
                    <a:pt x="35780" y="4486"/>
                  </a:lnTo>
                  <a:lnTo>
                    <a:pt x="35303" y="4486"/>
                  </a:lnTo>
                  <a:lnTo>
                    <a:pt x="35303" y="5199"/>
                  </a:lnTo>
                  <a:close/>
                  <a:moveTo>
                    <a:pt x="39964" y="5199"/>
                  </a:moveTo>
                  <a:lnTo>
                    <a:pt x="38171" y="5199"/>
                  </a:lnTo>
                  <a:lnTo>
                    <a:pt x="38171" y="630"/>
                  </a:lnTo>
                  <a:lnTo>
                    <a:pt x="38776" y="630"/>
                  </a:lnTo>
                  <a:lnTo>
                    <a:pt x="38776" y="228"/>
                  </a:lnTo>
                  <a:lnTo>
                    <a:pt x="36654" y="228"/>
                  </a:lnTo>
                  <a:lnTo>
                    <a:pt x="36654" y="630"/>
                  </a:lnTo>
                  <a:lnTo>
                    <a:pt x="37263" y="630"/>
                  </a:lnTo>
                  <a:lnTo>
                    <a:pt x="37263" y="5260"/>
                  </a:lnTo>
                  <a:lnTo>
                    <a:pt x="36654" y="5260"/>
                  </a:lnTo>
                  <a:lnTo>
                    <a:pt x="36654" y="5667"/>
                  </a:lnTo>
                  <a:lnTo>
                    <a:pt x="40438" y="5667"/>
                  </a:lnTo>
                  <a:lnTo>
                    <a:pt x="40438" y="4486"/>
                  </a:lnTo>
                  <a:lnTo>
                    <a:pt x="39964" y="4486"/>
                  </a:lnTo>
                  <a:lnTo>
                    <a:pt x="39964" y="5199"/>
                  </a:lnTo>
                  <a:close/>
                  <a:moveTo>
                    <a:pt x="14209" y="630"/>
                  </a:moveTo>
                  <a:lnTo>
                    <a:pt x="14905" y="630"/>
                  </a:lnTo>
                  <a:lnTo>
                    <a:pt x="13736" y="2558"/>
                  </a:lnTo>
                  <a:lnTo>
                    <a:pt x="12480" y="630"/>
                  </a:lnTo>
                  <a:lnTo>
                    <a:pt x="13111" y="630"/>
                  </a:lnTo>
                  <a:lnTo>
                    <a:pt x="13111" y="228"/>
                  </a:lnTo>
                  <a:lnTo>
                    <a:pt x="10914" y="228"/>
                  </a:lnTo>
                  <a:lnTo>
                    <a:pt x="10914" y="630"/>
                  </a:lnTo>
                  <a:lnTo>
                    <a:pt x="11404" y="630"/>
                  </a:lnTo>
                  <a:lnTo>
                    <a:pt x="13059" y="3173"/>
                  </a:lnTo>
                  <a:lnTo>
                    <a:pt x="13059" y="5260"/>
                  </a:lnTo>
                  <a:lnTo>
                    <a:pt x="12453" y="5260"/>
                  </a:lnTo>
                  <a:lnTo>
                    <a:pt x="12453" y="5667"/>
                  </a:lnTo>
                  <a:lnTo>
                    <a:pt x="14574" y="5667"/>
                  </a:lnTo>
                  <a:lnTo>
                    <a:pt x="14574" y="5260"/>
                  </a:lnTo>
                  <a:lnTo>
                    <a:pt x="13960" y="5260"/>
                  </a:lnTo>
                  <a:lnTo>
                    <a:pt x="13960" y="3125"/>
                  </a:lnTo>
                  <a:lnTo>
                    <a:pt x="15489" y="630"/>
                  </a:lnTo>
                  <a:lnTo>
                    <a:pt x="15930" y="630"/>
                  </a:lnTo>
                  <a:lnTo>
                    <a:pt x="15930" y="228"/>
                  </a:lnTo>
                  <a:lnTo>
                    <a:pt x="14209" y="228"/>
                  </a:lnTo>
                  <a:lnTo>
                    <a:pt x="14209" y="630"/>
                  </a:lnTo>
                  <a:close/>
                  <a:moveTo>
                    <a:pt x="3080" y="2796"/>
                  </a:moveTo>
                  <a:cubicBezTo>
                    <a:pt x="3596" y="2648"/>
                    <a:pt x="4078" y="2246"/>
                    <a:pt x="4078" y="1603"/>
                  </a:cubicBezTo>
                  <a:cubicBezTo>
                    <a:pt x="4078" y="768"/>
                    <a:pt x="3458" y="228"/>
                    <a:pt x="2496" y="228"/>
                  </a:cubicBezTo>
                  <a:lnTo>
                    <a:pt x="0" y="228"/>
                  </a:lnTo>
                  <a:lnTo>
                    <a:pt x="0" y="630"/>
                  </a:lnTo>
                  <a:lnTo>
                    <a:pt x="605" y="630"/>
                  </a:lnTo>
                  <a:lnTo>
                    <a:pt x="605" y="5260"/>
                  </a:lnTo>
                  <a:lnTo>
                    <a:pt x="0" y="5260"/>
                  </a:lnTo>
                  <a:lnTo>
                    <a:pt x="0" y="5667"/>
                  </a:lnTo>
                  <a:lnTo>
                    <a:pt x="2639" y="5667"/>
                  </a:lnTo>
                  <a:cubicBezTo>
                    <a:pt x="3657" y="5667"/>
                    <a:pt x="4337" y="5087"/>
                    <a:pt x="4337" y="4224"/>
                  </a:cubicBezTo>
                  <a:cubicBezTo>
                    <a:pt x="4337" y="3370"/>
                    <a:pt x="3724" y="2936"/>
                    <a:pt x="3080" y="2796"/>
                  </a:cubicBezTo>
                  <a:close/>
                  <a:moveTo>
                    <a:pt x="1516" y="703"/>
                  </a:moveTo>
                  <a:lnTo>
                    <a:pt x="2182" y="703"/>
                  </a:lnTo>
                  <a:cubicBezTo>
                    <a:pt x="2536" y="703"/>
                    <a:pt x="3129" y="825"/>
                    <a:pt x="3129" y="1635"/>
                  </a:cubicBezTo>
                  <a:cubicBezTo>
                    <a:pt x="3129" y="2308"/>
                    <a:pt x="2631" y="2611"/>
                    <a:pt x="2138" y="2611"/>
                  </a:cubicBezTo>
                  <a:lnTo>
                    <a:pt x="1516" y="2611"/>
                  </a:lnTo>
                  <a:lnTo>
                    <a:pt x="1516" y="703"/>
                  </a:lnTo>
                  <a:close/>
                  <a:moveTo>
                    <a:pt x="2213" y="5199"/>
                  </a:moveTo>
                  <a:lnTo>
                    <a:pt x="1516" y="5199"/>
                  </a:lnTo>
                  <a:lnTo>
                    <a:pt x="1516" y="3081"/>
                  </a:lnTo>
                  <a:lnTo>
                    <a:pt x="2213" y="3081"/>
                  </a:lnTo>
                  <a:cubicBezTo>
                    <a:pt x="2937" y="3081"/>
                    <a:pt x="3406" y="3513"/>
                    <a:pt x="3406" y="4182"/>
                  </a:cubicBezTo>
                  <a:cubicBezTo>
                    <a:pt x="3406" y="4931"/>
                    <a:pt x="2764" y="5199"/>
                    <a:pt x="2213" y="5199"/>
                  </a:cubicBezTo>
                  <a:close/>
                  <a:moveTo>
                    <a:pt x="8768" y="630"/>
                  </a:moveTo>
                  <a:lnTo>
                    <a:pt x="9385" y="630"/>
                  </a:lnTo>
                  <a:lnTo>
                    <a:pt x="9385" y="4079"/>
                  </a:lnTo>
                  <a:lnTo>
                    <a:pt x="6569" y="228"/>
                  </a:lnTo>
                  <a:lnTo>
                    <a:pt x="5164" y="228"/>
                  </a:lnTo>
                  <a:lnTo>
                    <a:pt x="5164" y="630"/>
                  </a:lnTo>
                  <a:lnTo>
                    <a:pt x="5744" y="630"/>
                  </a:lnTo>
                  <a:lnTo>
                    <a:pt x="5937" y="903"/>
                  </a:lnTo>
                  <a:lnTo>
                    <a:pt x="5937" y="5261"/>
                  </a:lnTo>
                  <a:lnTo>
                    <a:pt x="5323" y="5261"/>
                  </a:lnTo>
                  <a:lnTo>
                    <a:pt x="5323" y="5667"/>
                  </a:lnTo>
                  <a:lnTo>
                    <a:pt x="7060" y="5667"/>
                  </a:lnTo>
                  <a:lnTo>
                    <a:pt x="7060" y="5261"/>
                  </a:lnTo>
                  <a:lnTo>
                    <a:pt x="6448" y="5261"/>
                  </a:lnTo>
                  <a:lnTo>
                    <a:pt x="6448" y="1596"/>
                  </a:lnTo>
                  <a:lnTo>
                    <a:pt x="9471" y="5757"/>
                  </a:lnTo>
                  <a:lnTo>
                    <a:pt x="9893" y="5757"/>
                  </a:lnTo>
                  <a:lnTo>
                    <a:pt x="9893" y="630"/>
                  </a:lnTo>
                  <a:lnTo>
                    <a:pt x="10500" y="630"/>
                  </a:lnTo>
                  <a:lnTo>
                    <a:pt x="10500" y="228"/>
                  </a:lnTo>
                  <a:lnTo>
                    <a:pt x="8768" y="228"/>
                  </a:lnTo>
                  <a:lnTo>
                    <a:pt x="8768" y="630"/>
                  </a:lnTo>
                  <a:close/>
                </a:path>
              </a:pathLst>
            </a:custGeom>
            <a:solidFill>
              <a:srgbClr val="4B4B4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gray">
            <a:xfrm>
              <a:off x="482601" y="558801"/>
              <a:ext cx="333375" cy="169863"/>
            </a:xfrm>
            <a:custGeom>
              <a:avLst/>
              <a:gdLst/>
              <a:ahLst/>
              <a:cxnLst>
                <a:cxn ang="0">
                  <a:pos x="10208" y="2604"/>
                </a:cxn>
                <a:cxn ang="0">
                  <a:pos x="3549" y="0"/>
                </a:cxn>
                <a:cxn ang="0">
                  <a:pos x="0" y="2604"/>
                </a:cxn>
                <a:cxn ang="0">
                  <a:pos x="3549" y="5207"/>
                </a:cxn>
                <a:cxn ang="0">
                  <a:pos x="10208" y="2604"/>
                </a:cxn>
              </a:cxnLst>
              <a:rect l="0" t="0" r="r" b="b"/>
              <a:pathLst>
                <a:path w="10208" h="5207">
                  <a:moveTo>
                    <a:pt x="10208" y="2604"/>
                  </a:moveTo>
                  <a:lnTo>
                    <a:pt x="3549" y="0"/>
                  </a:lnTo>
                  <a:cubicBezTo>
                    <a:pt x="2119" y="783"/>
                    <a:pt x="948" y="1689"/>
                    <a:pt x="0" y="2604"/>
                  </a:cubicBezTo>
                  <a:cubicBezTo>
                    <a:pt x="948" y="3516"/>
                    <a:pt x="2119" y="4422"/>
                    <a:pt x="3549" y="5207"/>
                  </a:cubicBezTo>
                  <a:lnTo>
                    <a:pt x="10208" y="2604"/>
                  </a:lnTo>
                  <a:close/>
                </a:path>
              </a:pathLst>
            </a:custGeom>
            <a:solidFill>
              <a:srgbClr val="B2863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gray">
            <a:xfrm>
              <a:off x="363538" y="466726"/>
              <a:ext cx="220663" cy="1555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18" y="4760"/>
                </a:cxn>
                <a:cxn ang="0">
                  <a:pos x="6750" y="2638"/>
                </a:cxn>
                <a:cxn ang="0">
                  <a:pos x="0" y="0"/>
                </a:cxn>
              </a:cxnLst>
              <a:rect l="0" t="0" r="r" b="b"/>
              <a:pathLst>
                <a:path w="6750" h="4760">
                  <a:moveTo>
                    <a:pt x="0" y="0"/>
                  </a:moveTo>
                  <a:cubicBezTo>
                    <a:pt x="0" y="0"/>
                    <a:pt x="705" y="2292"/>
                    <a:pt x="3018" y="4760"/>
                  </a:cubicBezTo>
                  <a:cubicBezTo>
                    <a:pt x="4044" y="3972"/>
                    <a:pt x="5281" y="3254"/>
                    <a:pt x="6750" y="2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A9A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gray">
            <a:xfrm>
              <a:off x="363538" y="665164"/>
              <a:ext cx="220663" cy="155575"/>
            </a:xfrm>
            <a:custGeom>
              <a:avLst/>
              <a:gdLst/>
              <a:ahLst/>
              <a:cxnLst>
                <a:cxn ang="0">
                  <a:pos x="0" y="4760"/>
                </a:cxn>
                <a:cxn ang="0">
                  <a:pos x="3018" y="0"/>
                </a:cxn>
                <a:cxn ang="0">
                  <a:pos x="6750" y="2122"/>
                </a:cxn>
                <a:cxn ang="0">
                  <a:pos x="0" y="4760"/>
                </a:cxn>
              </a:cxnLst>
              <a:rect l="0" t="0" r="r" b="b"/>
              <a:pathLst>
                <a:path w="6750" h="4760">
                  <a:moveTo>
                    <a:pt x="0" y="4760"/>
                  </a:moveTo>
                  <a:cubicBezTo>
                    <a:pt x="0" y="4760"/>
                    <a:pt x="705" y="2469"/>
                    <a:pt x="3018" y="0"/>
                  </a:cubicBezTo>
                  <a:cubicBezTo>
                    <a:pt x="4044" y="789"/>
                    <a:pt x="5281" y="1505"/>
                    <a:pt x="6750" y="2122"/>
                  </a:cubicBezTo>
                  <a:lnTo>
                    <a:pt x="0" y="4760"/>
                  </a:lnTo>
                  <a:close/>
                </a:path>
              </a:pathLst>
            </a:custGeom>
            <a:solidFill>
              <a:srgbClr val="A7997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</p:grpSp>
      <p:sp>
        <p:nvSpPr>
          <p:cNvPr id="11" name="Rectangle 50"/>
          <p:cNvSpPr>
            <a:spLocks noChangeArrowheads="1"/>
          </p:cNvSpPr>
          <p:nvPr userDrawn="1"/>
        </p:nvSpPr>
        <p:spPr bwMode="auto">
          <a:xfrm>
            <a:off x="452438" y="6572250"/>
            <a:ext cx="6359525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lnSpc>
                <a:spcPct val="95000"/>
              </a:lnSpc>
              <a:defRPr/>
            </a:pPr>
            <a:r>
              <a:rPr lang="en-GB" sz="800" i="1" dirty="0">
                <a:solidFill>
                  <a:srgbClr val="000000"/>
                </a:solidFill>
              </a:rPr>
              <a:t>Information Classification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453025" y="2267712"/>
            <a:ext cx="4575478" cy="86793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453025" y="3344677"/>
            <a:ext cx="4575478" cy="34163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auto">
          <a:xfrm>
            <a:off x="453025" y="3895344"/>
            <a:ext cx="4575478" cy="57862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1">
                <a:solidFill>
                  <a:schemeClr val="bg2"/>
                </a:solidFill>
              </a:defRPr>
            </a:lvl1pPr>
            <a:lvl2pPr marL="1588" indent="0">
              <a:lnSpc>
                <a:spcPct val="100000"/>
              </a:lnSpc>
              <a:spcBef>
                <a:spcPts val="600"/>
              </a:spcBef>
              <a:buNone/>
              <a:defRPr sz="1400" b="1">
                <a:solidFill>
                  <a:schemeClr val="bg2"/>
                </a:solidFill>
              </a:defRPr>
            </a:lvl2pPr>
            <a:lvl3pPr marL="558800" indent="0">
              <a:spcBef>
                <a:spcPts val="600"/>
              </a:spcBef>
              <a:buNone/>
              <a:defRPr sz="1400"/>
            </a:lvl3pPr>
            <a:lvl4pPr marL="914400" indent="0">
              <a:spcBef>
                <a:spcPts val="600"/>
              </a:spcBef>
              <a:buNone/>
              <a:defRPr sz="1400"/>
            </a:lvl4pPr>
            <a:lvl5pPr marL="1201737" indent="0">
              <a:spcBef>
                <a:spcPts val="600"/>
              </a:spcBef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 bwMode="auto">
          <a:xfrm>
            <a:off x="453025" y="5010912"/>
            <a:ext cx="4575478" cy="25853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200">
                <a:solidFill>
                  <a:schemeClr val="bg2"/>
                </a:solidFill>
              </a:defRPr>
            </a:lvl1pPr>
            <a:lvl2pPr marL="236537" indent="0">
              <a:lnSpc>
                <a:spcPct val="90000"/>
              </a:lnSpc>
              <a:spcBef>
                <a:spcPts val="0"/>
              </a:spcBef>
              <a:buNone/>
              <a:defRPr/>
            </a:lvl2pPr>
            <a:lvl3pPr marL="558800" indent="0">
              <a:lnSpc>
                <a:spcPct val="90000"/>
              </a:lnSpc>
              <a:spcBef>
                <a:spcPts val="0"/>
              </a:spcBef>
              <a:buNone/>
              <a:defRPr/>
            </a:lvl3pPr>
            <a:lvl4pPr marL="914400" indent="0">
              <a:lnSpc>
                <a:spcPct val="90000"/>
              </a:lnSpc>
              <a:spcBef>
                <a:spcPts val="0"/>
              </a:spcBef>
              <a:buNone/>
              <a:defRPr/>
            </a:lvl4pPr>
            <a:lvl5pPr marL="1201737" indent="0">
              <a:lnSpc>
                <a:spcPct val="90000"/>
              </a:lnSpc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8070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/Section Header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 bwMode="auto">
          <a:xfrm>
            <a:off x="227013" y="6507165"/>
            <a:ext cx="411162" cy="346075"/>
          </a:xfrm>
          <a:prstGeom prst="rect">
            <a:avLst/>
          </a:prstGeom>
          <a:ln/>
        </p:spPr>
        <p:txBody>
          <a:bodyPr wrap="none" anchor="ctr"/>
          <a:lstStyle>
            <a:defPPr>
              <a:defRPr lang="en-US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fld id="{7CA3048F-6AF9-4E26-8C15-A30ADAA2E2C1}" type="slidenum">
              <a:rPr lang="en-US" smtClean="0">
                <a:solidFill>
                  <a:srgbClr val="000000"/>
                </a:solidFill>
              </a:rPr>
              <a:pPr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0"/>
          <p:cNvSpPr>
            <a:spLocks noChangeArrowheads="1"/>
          </p:cNvSpPr>
          <p:nvPr userDrawn="1"/>
        </p:nvSpPr>
        <p:spPr bwMode="auto">
          <a:xfrm>
            <a:off x="654050" y="6572250"/>
            <a:ext cx="6359525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lnSpc>
                <a:spcPct val="95000"/>
              </a:lnSpc>
              <a:defRPr/>
            </a:pPr>
            <a:r>
              <a:rPr lang="en-GB" sz="800" i="1" dirty="0">
                <a:solidFill>
                  <a:srgbClr val="000000"/>
                </a:solidFill>
              </a:rPr>
              <a:t>Information Classification: Confident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78053" y="2194561"/>
            <a:ext cx="7261060" cy="39744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auto">
          <a:xfrm>
            <a:off x="227013" y="1301750"/>
            <a:ext cx="7912100" cy="45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1020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/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6866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Subtitle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227013" y="458788"/>
            <a:ext cx="8684756" cy="42473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 bwMode="auto">
          <a:xfrm>
            <a:off x="227471" y="1763713"/>
            <a:ext cx="8684299" cy="440531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/>
          </p:nvPr>
        </p:nvSpPr>
        <p:spPr bwMode="auto">
          <a:xfrm>
            <a:off x="227471" y="1301750"/>
            <a:ext cx="8684299" cy="369332"/>
          </a:xfrm>
          <a:prstGeom prst="rect">
            <a:avLst/>
          </a:prstGeom>
          <a:noFill/>
        </p:spPr>
        <p:txBody>
          <a:bodyPr rtlCol="0">
            <a:noAutofit/>
          </a:bodyPr>
          <a:lstStyle>
            <a:lvl1pPr marL="0" indent="0" algn="l" rtl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6"/>
          </p:nvPr>
        </p:nvSpPr>
        <p:spPr bwMode="auto">
          <a:xfrm>
            <a:off x="227469" y="6169025"/>
            <a:ext cx="8684756" cy="301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200"/>
              </a:spcBef>
              <a:buNone/>
              <a:defRPr sz="80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92807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27013" y="1301749"/>
            <a:ext cx="4115872" cy="366414"/>
          </a:xfrm>
          <a:noFill/>
          <a:ln w="19050">
            <a:noFill/>
          </a:ln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7"/>
          </p:nvPr>
        </p:nvSpPr>
        <p:spPr bwMode="auto">
          <a:xfrm>
            <a:off x="227013" y="1763716"/>
            <a:ext cx="4115872" cy="4405311"/>
          </a:xfrm>
          <a:noFill/>
          <a:ln w="19050">
            <a:noFill/>
          </a:ln>
        </p:spPr>
        <p:txBody>
          <a:bodyPr/>
          <a:lstStyle>
            <a:lvl1pPr>
              <a:lnSpc>
                <a:spcPct val="100000"/>
              </a:lnSpc>
              <a:defRPr b="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defRPr b="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defRPr b="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defRPr b="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4801117" y="1301749"/>
            <a:ext cx="4110013" cy="366414"/>
          </a:xfrm>
          <a:noFill/>
          <a:ln w="19050">
            <a:noFill/>
          </a:ln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/>
          </p:nvPr>
        </p:nvSpPr>
        <p:spPr bwMode="auto">
          <a:xfrm>
            <a:off x="4801117" y="1763716"/>
            <a:ext cx="4110013" cy="4405311"/>
          </a:xfrm>
          <a:noFill/>
          <a:ln w="19050">
            <a:noFill/>
          </a:ln>
        </p:spPr>
        <p:txBody>
          <a:bodyPr/>
          <a:lstStyle>
            <a:lvl1pPr>
              <a:lnSpc>
                <a:spcPct val="100000"/>
              </a:lnSpc>
              <a:defRPr b="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defRPr b="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defRPr b="0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defRPr b="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/>
          </p:nvPr>
        </p:nvSpPr>
        <p:spPr bwMode="auto">
          <a:xfrm>
            <a:off x="227469" y="6169025"/>
            <a:ext cx="8684756" cy="301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200"/>
              </a:spcBef>
              <a:buNone/>
              <a:defRPr sz="80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59106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27013" y="1301751"/>
            <a:ext cx="4115872" cy="602621"/>
          </a:xfrm>
          <a:solidFill>
            <a:schemeClr val="accent3"/>
          </a:solidFill>
          <a:ln w="19050">
            <a:solidFill>
              <a:schemeClr val="accent3"/>
            </a:solidFill>
          </a:ln>
        </p:spPr>
        <p:txBody>
          <a:bodyPr lIns="146304" rIns="146304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7"/>
          </p:nvPr>
        </p:nvSpPr>
        <p:spPr bwMode="auto">
          <a:xfrm>
            <a:off x="227013" y="1957269"/>
            <a:ext cx="4115872" cy="4211756"/>
          </a:xfrm>
          <a:ln w="19050">
            <a:solidFill>
              <a:schemeClr val="accent3"/>
            </a:solidFill>
          </a:ln>
        </p:spPr>
        <p:txBody>
          <a:bodyPr tIns="91440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801117" y="1301751"/>
            <a:ext cx="4110013" cy="602621"/>
          </a:xfrm>
          <a:solidFill>
            <a:schemeClr val="accent3"/>
          </a:solidFill>
          <a:ln w="19050">
            <a:solidFill>
              <a:schemeClr val="accent3"/>
            </a:solidFill>
          </a:ln>
        </p:spPr>
        <p:txBody>
          <a:bodyPr lIns="146304" rIns="146304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/>
          </p:nvPr>
        </p:nvSpPr>
        <p:spPr bwMode="auto">
          <a:xfrm>
            <a:off x="4801117" y="1957269"/>
            <a:ext cx="4110013" cy="4211756"/>
          </a:xfrm>
          <a:ln w="19050">
            <a:solidFill>
              <a:schemeClr val="accent3"/>
            </a:solidFill>
          </a:ln>
        </p:spPr>
        <p:txBody>
          <a:bodyPr tIns="91440"/>
          <a:lstStyle>
            <a:lvl1pPr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 bwMode="auto">
          <a:xfrm>
            <a:off x="227469" y="6169025"/>
            <a:ext cx="8686800" cy="301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200"/>
              </a:spcBef>
              <a:buNone/>
              <a:defRPr sz="80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35493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5"/>
          </p:nvPr>
        </p:nvSpPr>
        <p:spPr bwMode="auto">
          <a:xfrm>
            <a:off x="227470" y="1301750"/>
            <a:ext cx="8683660" cy="369332"/>
          </a:xfrm>
          <a:prstGeom prst="rect">
            <a:avLst/>
          </a:prstGeom>
          <a:noFill/>
        </p:spPr>
        <p:txBody>
          <a:bodyPr rtlCol="0">
            <a:noAutofit/>
          </a:bodyPr>
          <a:lstStyle>
            <a:lvl1pPr marL="0" indent="0" algn="l" rtl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 bwMode="auto">
          <a:xfrm>
            <a:off x="227469" y="6169024"/>
            <a:ext cx="8683660" cy="301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200"/>
              </a:spcBef>
              <a:buNone/>
              <a:defRPr sz="80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62830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212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1697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5915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ash Page 1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 bwMode="auto">
          <a:xfrm>
            <a:off x="227013" y="6507165"/>
            <a:ext cx="411162" cy="346075"/>
          </a:xfrm>
          <a:prstGeom prst="rect">
            <a:avLst/>
          </a:prstGeom>
          <a:ln/>
        </p:spPr>
        <p:txBody>
          <a:bodyPr wrap="none" anchor="ctr"/>
          <a:lstStyle>
            <a:defPPr>
              <a:defRPr lang="en-US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fld id="{A7D2C56C-9ED6-4DDC-9FF1-148D1EF9DECD}" type="slidenum">
              <a:rPr lang="en-US" smtClean="0">
                <a:solidFill>
                  <a:srgbClr val="FFFFFF"/>
                </a:solidFill>
              </a:rPr>
              <a:pPr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50"/>
          <p:cNvSpPr>
            <a:spLocks noChangeArrowheads="1"/>
          </p:cNvSpPr>
          <p:nvPr userDrawn="1"/>
        </p:nvSpPr>
        <p:spPr bwMode="auto">
          <a:xfrm>
            <a:off x="654050" y="6572250"/>
            <a:ext cx="6359525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lnSpc>
                <a:spcPct val="95000"/>
              </a:lnSpc>
              <a:defRPr/>
            </a:pPr>
            <a:r>
              <a:rPr lang="en-GB" sz="800" i="1" dirty="0">
                <a:solidFill>
                  <a:srgbClr val="FFFFFF"/>
                </a:solidFill>
              </a:rPr>
              <a:t>Information Classification: Confidentia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auto">
          <a:xfrm>
            <a:off x="3589338" y="0"/>
            <a:ext cx="4701222" cy="6858000"/>
          </a:xfrm>
        </p:spPr>
        <p:txBody>
          <a:bodyPr lIns="457200" tIns="914400" rIns="457200" bIns="9144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845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ash Page 2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 bwMode="auto">
          <a:xfrm>
            <a:off x="227013" y="6507165"/>
            <a:ext cx="411162" cy="346075"/>
          </a:xfrm>
          <a:prstGeom prst="rect">
            <a:avLst/>
          </a:prstGeom>
          <a:ln/>
        </p:spPr>
        <p:txBody>
          <a:bodyPr wrap="none" anchor="ctr"/>
          <a:lstStyle>
            <a:defPPr>
              <a:defRPr lang="en-US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fld id="{1CB8B5E6-A02E-4D13-9CDB-DE4FB49281BA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Rectangle 50"/>
          <p:cNvSpPr>
            <a:spLocks noChangeArrowheads="1"/>
          </p:cNvSpPr>
          <p:nvPr userDrawn="1"/>
        </p:nvSpPr>
        <p:spPr bwMode="auto">
          <a:xfrm>
            <a:off x="654050" y="6572250"/>
            <a:ext cx="6359525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lnSpc>
                <a:spcPct val="95000"/>
              </a:lnSpc>
              <a:defRPr/>
            </a:pPr>
            <a:r>
              <a:rPr lang="en-GB" sz="800" i="1" dirty="0">
                <a:solidFill>
                  <a:srgbClr val="FFFFFF">
                    <a:lumMod val="50000"/>
                  </a:srgbClr>
                </a:solidFill>
              </a:rPr>
              <a:t>Information Classification: Confidential</a:t>
            </a:r>
          </a:p>
        </p:txBody>
      </p:sp>
      <p:sp>
        <p:nvSpPr>
          <p:cNvPr id="4" name="Title 9"/>
          <p:cNvSpPr>
            <a:spLocks noGrp="1"/>
          </p:cNvSpPr>
          <p:nvPr>
            <p:ph type="title"/>
          </p:nvPr>
        </p:nvSpPr>
        <p:spPr bwMode="auto">
          <a:xfrm>
            <a:off x="1" y="0"/>
            <a:ext cx="5487829" cy="6858000"/>
          </a:xfrm>
        </p:spPr>
        <p:txBody>
          <a:bodyPr lIns="457200" tIns="914400" rIns="457200" bIns="9144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1465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ash Page 3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 bwMode="auto">
          <a:xfrm>
            <a:off x="227013" y="6507165"/>
            <a:ext cx="411162" cy="346075"/>
          </a:xfrm>
          <a:prstGeom prst="rect">
            <a:avLst/>
          </a:prstGeom>
          <a:ln/>
        </p:spPr>
        <p:txBody>
          <a:bodyPr wrap="none" anchor="ctr"/>
          <a:lstStyle>
            <a:defPPr>
              <a:defRPr lang="en-US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fld id="{85268862-7EF9-4F43-A54C-4632D9E0F608}" type="slidenum">
              <a:rPr lang="en-US" smtClean="0">
                <a:solidFill>
                  <a:srgbClr val="FFFFFF"/>
                </a:solidFill>
              </a:rPr>
              <a:pPr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50"/>
          <p:cNvSpPr>
            <a:spLocks noChangeArrowheads="1"/>
          </p:cNvSpPr>
          <p:nvPr userDrawn="1"/>
        </p:nvSpPr>
        <p:spPr bwMode="auto">
          <a:xfrm>
            <a:off x="654050" y="6572250"/>
            <a:ext cx="6359525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lnSpc>
                <a:spcPct val="95000"/>
              </a:lnSpc>
              <a:defRPr/>
            </a:pPr>
            <a:r>
              <a:rPr lang="en-GB" sz="800" i="1" dirty="0">
                <a:solidFill>
                  <a:srgbClr val="FFFFFF"/>
                </a:solidFill>
              </a:rPr>
              <a:t>Information Classification: Confidential</a:t>
            </a:r>
          </a:p>
        </p:txBody>
      </p:sp>
      <p:sp>
        <p:nvSpPr>
          <p:cNvPr id="4" name="Title 9"/>
          <p:cNvSpPr>
            <a:spLocks noGrp="1"/>
          </p:cNvSpPr>
          <p:nvPr>
            <p:ph type="title"/>
          </p:nvPr>
        </p:nvSpPr>
        <p:spPr bwMode="auto">
          <a:xfrm>
            <a:off x="1" y="0"/>
            <a:ext cx="5487829" cy="6858000"/>
          </a:xfrm>
        </p:spPr>
        <p:txBody>
          <a:bodyPr lIns="457200" tIns="914400" rIns="457200" bIns="9144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5899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 bwMode="auto">
          <a:xfrm>
            <a:off x="227470" y="1301752"/>
            <a:ext cx="8683660" cy="48672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/>
            </a:lvl1pPr>
            <a:lvl2pPr marL="400050" indent="-163513">
              <a:lnSpc>
                <a:spcPct val="100000"/>
              </a:lnSpc>
              <a:spcBef>
                <a:spcPts val="600"/>
              </a:spcBef>
              <a:defRPr sz="1400"/>
            </a:lvl2pPr>
            <a:lvl3pPr marL="687388" indent="-182563">
              <a:lnSpc>
                <a:spcPct val="100000"/>
              </a:lnSpc>
              <a:spcBef>
                <a:spcPts val="600"/>
              </a:spcBef>
              <a:defRPr sz="1400"/>
            </a:lvl3pPr>
            <a:lvl4pPr marL="974725" indent="-173038">
              <a:lnSpc>
                <a:spcPct val="100000"/>
              </a:lnSpc>
              <a:spcBef>
                <a:spcPts val="600"/>
              </a:spcBef>
              <a:defRPr sz="1400"/>
            </a:lvl4pPr>
            <a:lvl5pPr marL="1201738" indent="-171450">
              <a:lnSpc>
                <a:spcPct val="100000"/>
              </a:lnSpc>
              <a:spcBef>
                <a:spcPts val="600"/>
              </a:spcBef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1962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/>
          <p:cNvGrpSpPr>
            <a:grpSpLocks/>
          </p:cNvGrpSpPr>
          <p:nvPr userDrawn="1"/>
        </p:nvGrpSpPr>
        <p:grpSpPr bwMode="auto">
          <a:xfrm>
            <a:off x="5773739" y="5486402"/>
            <a:ext cx="2949575" cy="1008063"/>
            <a:chOff x="5773738" y="5486401"/>
            <a:chExt cx="2949575" cy="1008063"/>
          </a:xfrm>
        </p:grpSpPr>
        <p:sp>
          <p:nvSpPr>
            <p:cNvPr id="3" name="Freeform 2"/>
            <p:cNvSpPr>
              <a:spLocks noEditPoints="1"/>
            </p:cNvSpPr>
            <p:nvPr userDrawn="1"/>
          </p:nvSpPr>
          <p:spPr bwMode="gray">
            <a:xfrm>
              <a:off x="5967413" y="6188076"/>
              <a:ext cx="2755900" cy="306388"/>
            </a:xfrm>
            <a:custGeom>
              <a:avLst/>
              <a:gdLst/>
              <a:ahLst/>
              <a:cxnLst>
                <a:cxn ang="0">
                  <a:pos x="28318" y="3136"/>
                </a:cxn>
                <a:cxn ang="0">
                  <a:pos x="30217" y="3756"/>
                </a:cxn>
                <a:cxn ang="0">
                  <a:pos x="29740" y="2668"/>
                </a:cxn>
                <a:cxn ang="0">
                  <a:pos x="30128" y="703"/>
                </a:cxn>
                <a:cxn ang="0">
                  <a:pos x="30597" y="0"/>
                </a:cxn>
                <a:cxn ang="0">
                  <a:pos x="26804" y="228"/>
                </a:cxn>
                <a:cxn ang="0">
                  <a:pos x="27408" y="5260"/>
                </a:cxn>
                <a:cxn ang="0">
                  <a:pos x="30678" y="5667"/>
                </a:cxn>
                <a:cxn ang="0">
                  <a:pos x="30202" y="5199"/>
                </a:cxn>
                <a:cxn ang="0">
                  <a:pos x="51313" y="630"/>
                </a:cxn>
                <a:cxn ang="0">
                  <a:pos x="47090" y="228"/>
                </a:cxn>
                <a:cxn ang="0">
                  <a:pos x="47867" y="903"/>
                </a:cxn>
                <a:cxn ang="0">
                  <a:pos x="47254" y="5667"/>
                </a:cxn>
                <a:cxn ang="0">
                  <a:pos x="48376" y="5260"/>
                </a:cxn>
                <a:cxn ang="0">
                  <a:pos x="51823" y="5757"/>
                </a:cxn>
                <a:cxn ang="0">
                  <a:pos x="52429" y="228"/>
                </a:cxn>
                <a:cxn ang="0">
                  <a:pos x="40985" y="2955"/>
                </a:cxn>
                <a:cxn ang="0">
                  <a:pos x="43694" y="130"/>
                </a:cxn>
                <a:cxn ang="0">
                  <a:pos x="43703" y="656"/>
                </a:cxn>
                <a:cxn ang="0">
                  <a:pos x="22403" y="4138"/>
                </a:cxn>
                <a:cxn ang="0">
                  <a:pos x="19053" y="630"/>
                </a:cxn>
                <a:cxn ang="0">
                  <a:pos x="19053" y="5260"/>
                </a:cxn>
                <a:cxn ang="0">
                  <a:pos x="20790" y="5260"/>
                </a:cxn>
                <a:cxn ang="0">
                  <a:pos x="22205" y="5821"/>
                </a:cxn>
                <a:cxn ang="0">
                  <a:pos x="23526" y="5260"/>
                </a:cxn>
                <a:cxn ang="0">
                  <a:pos x="25647" y="5260"/>
                </a:cxn>
                <a:cxn ang="0">
                  <a:pos x="25647" y="630"/>
                </a:cxn>
                <a:cxn ang="0">
                  <a:pos x="22403" y="4138"/>
                </a:cxn>
                <a:cxn ang="0">
                  <a:pos x="33514" y="630"/>
                </a:cxn>
                <a:cxn ang="0">
                  <a:pos x="31997" y="228"/>
                </a:cxn>
                <a:cxn ang="0">
                  <a:pos x="32604" y="5260"/>
                </a:cxn>
                <a:cxn ang="0">
                  <a:pos x="35780" y="5667"/>
                </a:cxn>
                <a:cxn ang="0">
                  <a:pos x="35303" y="5199"/>
                </a:cxn>
                <a:cxn ang="0">
                  <a:pos x="38171" y="630"/>
                </a:cxn>
                <a:cxn ang="0">
                  <a:pos x="36654" y="228"/>
                </a:cxn>
                <a:cxn ang="0">
                  <a:pos x="37263" y="5260"/>
                </a:cxn>
                <a:cxn ang="0">
                  <a:pos x="40438" y="5667"/>
                </a:cxn>
                <a:cxn ang="0">
                  <a:pos x="39964" y="5199"/>
                </a:cxn>
                <a:cxn ang="0">
                  <a:pos x="13736" y="2558"/>
                </a:cxn>
                <a:cxn ang="0">
                  <a:pos x="13111" y="228"/>
                </a:cxn>
                <a:cxn ang="0">
                  <a:pos x="11404" y="630"/>
                </a:cxn>
                <a:cxn ang="0">
                  <a:pos x="12453" y="5260"/>
                </a:cxn>
                <a:cxn ang="0">
                  <a:pos x="14574" y="5260"/>
                </a:cxn>
                <a:cxn ang="0">
                  <a:pos x="15489" y="630"/>
                </a:cxn>
                <a:cxn ang="0">
                  <a:pos x="14209" y="228"/>
                </a:cxn>
                <a:cxn ang="0">
                  <a:pos x="4078" y="1603"/>
                </a:cxn>
                <a:cxn ang="0">
                  <a:pos x="0" y="630"/>
                </a:cxn>
                <a:cxn ang="0">
                  <a:pos x="0" y="5260"/>
                </a:cxn>
                <a:cxn ang="0">
                  <a:pos x="4337" y="4224"/>
                </a:cxn>
                <a:cxn ang="0">
                  <a:pos x="2182" y="703"/>
                </a:cxn>
                <a:cxn ang="0">
                  <a:pos x="1516" y="2611"/>
                </a:cxn>
                <a:cxn ang="0">
                  <a:pos x="1516" y="5199"/>
                </a:cxn>
                <a:cxn ang="0">
                  <a:pos x="3406" y="4182"/>
                </a:cxn>
                <a:cxn ang="0">
                  <a:pos x="9385" y="630"/>
                </a:cxn>
                <a:cxn ang="0">
                  <a:pos x="5164" y="228"/>
                </a:cxn>
                <a:cxn ang="0">
                  <a:pos x="5937" y="903"/>
                </a:cxn>
                <a:cxn ang="0">
                  <a:pos x="5323" y="5667"/>
                </a:cxn>
                <a:cxn ang="0">
                  <a:pos x="6448" y="5261"/>
                </a:cxn>
                <a:cxn ang="0">
                  <a:pos x="9893" y="5757"/>
                </a:cxn>
                <a:cxn ang="0">
                  <a:pos x="10500" y="228"/>
                </a:cxn>
              </a:cxnLst>
              <a:rect l="0" t="0" r="r" b="b"/>
              <a:pathLst>
                <a:path w="52429" h="5821">
                  <a:moveTo>
                    <a:pt x="30202" y="5199"/>
                  </a:moveTo>
                  <a:lnTo>
                    <a:pt x="28318" y="5199"/>
                  </a:lnTo>
                  <a:lnTo>
                    <a:pt x="28318" y="3136"/>
                  </a:lnTo>
                  <a:lnTo>
                    <a:pt x="29740" y="3136"/>
                  </a:lnTo>
                  <a:lnTo>
                    <a:pt x="29740" y="3756"/>
                  </a:lnTo>
                  <a:lnTo>
                    <a:pt x="30217" y="3756"/>
                  </a:lnTo>
                  <a:lnTo>
                    <a:pt x="30217" y="2057"/>
                  </a:lnTo>
                  <a:lnTo>
                    <a:pt x="29740" y="2057"/>
                  </a:lnTo>
                  <a:lnTo>
                    <a:pt x="29740" y="2668"/>
                  </a:lnTo>
                  <a:lnTo>
                    <a:pt x="28318" y="2668"/>
                  </a:lnTo>
                  <a:lnTo>
                    <a:pt x="28318" y="703"/>
                  </a:lnTo>
                  <a:lnTo>
                    <a:pt x="30128" y="703"/>
                  </a:lnTo>
                  <a:lnTo>
                    <a:pt x="30128" y="1392"/>
                  </a:lnTo>
                  <a:lnTo>
                    <a:pt x="30597" y="1392"/>
                  </a:lnTo>
                  <a:lnTo>
                    <a:pt x="30597" y="0"/>
                  </a:lnTo>
                  <a:lnTo>
                    <a:pt x="30120" y="0"/>
                  </a:lnTo>
                  <a:lnTo>
                    <a:pt x="30120" y="228"/>
                  </a:lnTo>
                  <a:lnTo>
                    <a:pt x="26804" y="228"/>
                  </a:lnTo>
                  <a:lnTo>
                    <a:pt x="26804" y="630"/>
                  </a:lnTo>
                  <a:lnTo>
                    <a:pt x="27408" y="630"/>
                  </a:lnTo>
                  <a:lnTo>
                    <a:pt x="27408" y="5260"/>
                  </a:lnTo>
                  <a:lnTo>
                    <a:pt x="26804" y="5260"/>
                  </a:lnTo>
                  <a:lnTo>
                    <a:pt x="26804" y="5667"/>
                  </a:lnTo>
                  <a:lnTo>
                    <a:pt x="30678" y="5667"/>
                  </a:lnTo>
                  <a:lnTo>
                    <a:pt x="30678" y="4486"/>
                  </a:lnTo>
                  <a:lnTo>
                    <a:pt x="30202" y="4486"/>
                  </a:lnTo>
                  <a:lnTo>
                    <a:pt x="30202" y="5199"/>
                  </a:lnTo>
                  <a:close/>
                  <a:moveTo>
                    <a:pt x="50699" y="228"/>
                  </a:moveTo>
                  <a:lnTo>
                    <a:pt x="50699" y="630"/>
                  </a:lnTo>
                  <a:lnTo>
                    <a:pt x="51313" y="630"/>
                  </a:lnTo>
                  <a:lnTo>
                    <a:pt x="51313" y="4079"/>
                  </a:lnTo>
                  <a:lnTo>
                    <a:pt x="48500" y="228"/>
                  </a:lnTo>
                  <a:lnTo>
                    <a:pt x="47090" y="228"/>
                  </a:lnTo>
                  <a:lnTo>
                    <a:pt x="47090" y="630"/>
                  </a:lnTo>
                  <a:lnTo>
                    <a:pt x="47673" y="630"/>
                  </a:lnTo>
                  <a:lnTo>
                    <a:pt x="47867" y="903"/>
                  </a:lnTo>
                  <a:lnTo>
                    <a:pt x="47867" y="5260"/>
                  </a:lnTo>
                  <a:lnTo>
                    <a:pt x="47254" y="5260"/>
                  </a:lnTo>
                  <a:lnTo>
                    <a:pt x="47254" y="5667"/>
                  </a:lnTo>
                  <a:lnTo>
                    <a:pt x="48991" y="5667"/>
                  </a:lnTo>
                  <a:lnTo>
                    <a:pt x="48991" y="5260"/>
                  </a:lnTo>
                  <a:lnTo>
                    <a:pt x="48376" y="5260"/>
                  </a:lnTo>
                  <a:lnTo>
                    <a:pt x="48376" y="1596"/>
                  </a:lnTo>
                  <a:lnTo>
                    <a:pt x="51399" y="5757"/>
                  </a:lnTo>
                  <a:lnTo>
                    <a:pt x="51823" y="5757"/>
                  </a:lnTo>
                  <a:lnTo>
                    <a:pt x="51823" y="630"/>
                  </a:lnTo>
                  <a:lnTo>
                    <a:pt x="52429" y="630"/>
                  </a:lnTo>
                  <a:lnTo>
                    <a:pt x="52429" y="228"/>
                  </a:lnTo>
                  <a:lnTo>
                    <a:pt x="50699" y="228"/>
                  </a:lnTo>
                  <a:close/>
                  <a:moveTo>
                    <a:pt x="43694" y="130"/>
                  </a:moveTo>
                  <a:cubicBezTo>
                    <a:pt x="42201" y="130"/>
                    <a:pt x="40985" y="1397"/>
                    <a:pt x="40985" y="2955"/>
                  </a:cubicBezTo>
                  <a:cubicBezTo>
                    <a:pt x="40985" y="4508"/>
                    <a:pt x="42201" y="5771"/>
                    <a:pt x="43694" y="5771"/>
                  </a:cubicBezTo>
                  <a:cubicBezTo>
                    <a:pt x="45177" y="5771"/>
                    <a:pt x="46381" y="4504"/>
                    <a:pt x="46381" y="2947"/>
                  </a:cubicBezTo>
                  <a:cubicBezTo>
                    <a:pt x="46381" y="1393"/>
                    <a:pt x="45177" y="130"/>
                    <a:pt x="43694" y="130"/>
                  </a:cubicBezTo>
                  <a:close/>
                  <a:moveTo>
                    <a:pt x="43694" y="5245"/>
                  </a:moveTo>
                  <a:cubicBezTo>
                    <a:pt x="42686" y="5245"/>
                    <a:pt x="41982" y="4299"/>
                    <a:pt x="41982" y="2947"/>
                  </a:cubicBezTo>
                  <a:cubicBezTo>
                    <a:pt x="41982" y="1597"/>
                    <a:pt x="42692" y="656"/>
                    <a:pt x="43703" y="656"/>
                  </a:cubicBezTo>
                  <a:cubicBezTo>
                    <a:pt x="44692" y="656"/>
                    <a:pt x="45384" y="1597"/>
                    <a:pt x="45384" y="2947"/>
                  </a:cubicBezTo>
                  <a:cubicBezTo>
                    <a:pt x="45384" y="4299"/>
                    <a:pt x="44690" y="5245"/>
                    <a:pt x="43694" y="5245"/>
                  </a:cubicBezTo>
                  <a:close/>
                  <a:moveTo>
                    <a:pt x="22403" y="4138"/>
                  </a:moveTo>
                  <a:lnTo>
                    <a:pt x="20571" y="228"/>
                  </a:lnTo>
                  <a:lnTo>
                    <a:pt x="19053" y="228"/>
                  </a:lnTo>
                  <a:lnTo>
                    <a:pt x="19053" y="630"/>
                  </a:lnTo>
                  <a:lnTo>
                    <a:pt x="19666" y="630"/>
                  </a:lnTo>
                  <a:lnTo>
                    <a:pt x="19666" y="5260"/>
                  </a:lnTo>
                  <a:lnTo>
                    <a:pt x="19053" y="5260"/>
                  </a:lnTo>
                  <a:lnTo>
                    <a:pt x="19053" y="5667"/>
                  </a:lnTo>
                  <a:lnTo>
                    <a:pt x="20790" y="5667"/>
                  </a:lnTo>
                  <a:lnTo>
                    <a:pt x="20790" y="5260"/>
                  </a:lnTo>
                  <a:lnTo>
                    <a:pt x="20177" y="5260"/>
                  </a:lnTo>
                  <a:lnTo>
                    <a:pt x="20177" y="1488"/>
                  </a:lnTo>
                  <a:lnTo>
                    <a:pt x="22205" y="5821"/>
                  </a:lnTo>
                  <a:lnTo>
                    <a:pt x="24131" y="1583"/>
                  </a:lnTo>
                  <a:lnTo>
                    <a:pt x="24131" y="5260"/>
                  </a:lnTo>
                  <a:lnTo>
                    <a:pt x="23526" y="5260"/>
                  </a:lnTo>
                  <a:lnTo>
                    <a:pt x="23526" y="5667"/>
                  </a:lnTo>
                  <a:lnTo>
                    <a:pt x="25647" y="5667"/>
                  </a:lnTo>
                  <a:lnTo>
                    <a:pt x="25647" y="5260"/>
                  </a:lnTo>
                  <a:lnTo>
                    <a:pt x="25039" y="5260"/>
                  </a:lnTo>
                  <a:lnTo>
                    <a:pt x="25039" y="630"/>
                  </a:lnTo>
                  <a:lnTo>
                    <a:pt x="25647" y="630"/>
                  </a:lnTo>
                  <a:lnTo>
                    <a:pt x="25647" y="228"/>
                  </a:lnTo>
                  <a:lnTo>
                    <a:pt x="24205" y="228"/>
                  </a:lnTo>
                  <a:lnTo>
                    <a:pt x="22403" y="4138"/>
                  </a:lnTo>
                  <a:close/>
                  <a:moveTo>
                    <a:pt x="35303" y="5199"/>
                  </a:moveTo>
                  <a:lnTo>
                    <a:pt x="33514" y="5199"/>
                  </a:lnTo>
                  <a:lnTo>
                    <a:pt x="33514" y="630"/>
                  </a:lnTo>
                  <a:lnTo>
                    <a:pt x="34122" y="630"/>
                  </a:lnTo>
                  <a:lnTo>
                    <a:pt x="34122" y="228"/>
                  </a:lnTo>
                  <a:lnTo>
                    <a:pt x="31997" y="228"/>
                  </a:lnTo>
                  <a:lnTo>
                    <a:pt x="31997" y="630"/>
                  </a:lnTo>
                  <a:lnTo>
                    <a:pt x="32604" y="630"/>
                  </a:lnTo>
                  <a:lnTo>
                    <a:pt x="32604" y="5260"/>
                  </a:lnTo>
                  <a:lnTo>
                    <a:pt x="31997" y="5260"/>
                  </a:lnTo>
                  <a:lnTo>
                    <a:pt x="31997" y="5667"/>
                  </a:lnTo>
                  <a:lnTo>
                    <a:pt x="35780" y="5667"/>
                  </a:lnTo>
                  <a:lnTo>
                    <a:pt x="35780" y="4486"/>
                  </a:lnTo>
                  <a:lnTo>
                    <a:pt x="35303" y="4486"/>
                  </a:lnTo>
                  <a:lnTo>
                    <a:pt x="35303" y="5199"/>
                  </a:lnTo>
                  <a:close/>
                  <a:moveTo>
                    <a:pt x="39964" y="5199"/>
                  </a:moveTo>
                  <a:lnTo>
                    <a:pt x="38171" y="5199"/>
                  </a:lnTo>
                  <a:lnTo>
                    <a:pt x="38171" y="630"/>
                  </a:lnTo>
                  <a:lnTo>
                    <a:pt x="38776" y="630"/>
                  </a:lnTo>
                  <a:lnTo>
                    <a:pt x="38776" y="228"/>
                  </a:lnTo>
                  <a:lnTo>
                    <a:pt x="36654" y="228"/>
                  </a:lnTo>
                  <a:lnTo>
                    <a:pt x="36654" y="630"/>
                  </a:lnTo>
                  <a:lnTo>
                    <a:pt x="37263" y="630"/>
                  </a:lnTo>
                  <a:lnTo>
                    <a:pt x="37263" y="5260"/>
                  </a:lnTo>
                  <a:lnTo>
                    <a:pt x="36654" y="5260"/>
                  </a:lnTo>
                  <a:lnTo>
                    <a:pt x="36654" y="5667"/>
                  </a:lnTo>
                  <a:lnTo>
                    <a:pt x="40438" y="5667"/>
                  </a:lnTo>
                  <a:lnTo>
                    <a:pt x="40438" y="4486"/>
                  </a:lnTo>
                  <a:lnTo>
                    <a:pt x="39964" y="4486"/>
                  </a:lnTo>
                  <a:lnTo>
                    <a:pt x="39964" y="5199"/>
                  </a:lnTo>
                  <a:close/>
                  <a:moveTo>
                    <a:pt x="14209" y="630"/>
                  </a:moveTo>
                  <a:lnTo>
                    <a:pt x="14905" y="630"/>
                  </a:lnTo>
                  <a:lnTo>
                    <a:pt x="13736" y="2558"/>
                  </a:lnTo>
                  <a:lnTo>
                    <a:pt x="12480" y="630"/>
                  </a:lnTo>
                  <a:lnTo>
                    <a:pt x="13111" y="630"/>
                  </a:lnTo>
                  <a:lnTo>
                    <a:pt x="13111" y="228"/>
                  </a:lnTo>
                  <a:lnTo>
                    <a:pt x="10914" y="228"/>
                  </a:lnTo>
                  <a:lnTo>
                    <a:pt x="10914" y="630"/>
                  </a:lnTo>
                  <a:lnTo>
                    <a:pt x="11404" y="630"/>
                  </a:lnTo>
                  <a:lnTo>
                    <a:pt x="13059" y="3173"/>
                  </a:lnTo>
                  <a:lnTo>
                    <a:pt x="13059" y="5260"/>
                  </a:lnTo>
                  <a:lnTo>
                    <a:pt x="12453" y="5260"/>
                  </a:lnTo>
                  <a:lnTo>
                    <a:pt x="12453" y="5667"/>
                  </a:lnTo>
                  <a:lnTo>
                    <a:pt x="14574" y="5667"/>
                  </a:lnTo>
                  <a:lnTo>
                    <a:pt x="14574" y="5260"/>
                  </a:lnTo>
                  <a:lnTo>
                    <a:pt x="13960" y="5260"/>
                  </a:lnTo>
                  <a:lnTo>
                    <a:pt x="13960" y="3125"/>
                  </a:lnTo>
                  <a:lnTo>
                    <a:pt x="15489" y="630"/>
                  </a:lnTo>
                  <a:lnTo>
                    <a:pt x="15930" y="630"/>
                  </a:lnTo>
                  <a:lnTo>
                    <a:pt x="15930" y="228"/>
                  </a:lnTo>
                  <a:lnTo>
                    <a:pt x="14209" y="228"/>
                  </a:lnTo>
                  <a:lnTo>
                    <a:pt x="14209" y="630"/>
                  </a:lnTo>
                  <a:close/>
                  <a:moveTo>
                    <a:pt x="3080" y="2796"/>
                  </a:moveTo>
                  <a:cubicBezTo>
                    <a:pt x="3596" y="2648"/>
                    <a:pt x="4078" y="2246"/>
                    <a:pt x="4078" y="1603"/>
                  </a:cubicBezTo>
                  <a:cubicBezTo>
                    <a:pt x="4078" y="768"/>
                    <a:pt x="3458" y="228"/>
                    <a:pt x="2496" y="228"/>
                  </a:cubicBezTo>
                  <a:lnTo>
                    <a:pt x="0" y="228"/>
                  </a:lnTo>
                  <a:lnTo>
                    <a:pt x="0" y="630"/>
                  </a:lnTo>
                  <a:lnTo>
                    <a:pt x="605" y="630"/>
                  </a:lnTo>
                  <a:lnTo>
                    <a:pt x="605" y="5260"/>
                  </a:lnTo>
                  <a:lnTo>
                    <a:pt x="0" y="5260"/>
                  </a:lnTo>
                  <a:lnTo>
                    <a:pt x="0" y="5667"/>
                  </a:lnTo>
                  <a:lnTo>
                    <a:pt x="2639" y="5667"/>
                  </a:lnTo>
                  <a:cubicBezTo>
                    <a:pt x="3657" y="5667"/>
                    <a:pt x="4337" y="5087"/>
                    <a:pt x="4337" y="4224"/>
                  </a:cubicBezTo>
                  <a:cubicBezTo>
                    <a:pt x="4337" y="3370"/>
                    <a:pt x="3724" y="2936"/>
                    <a:pt x="3080" y="2796"/>
                  </a:cubicBezTo>
                  <a:close/>
                  <a:moveTo>
                    <a:pt x="1516" y="703"/>
                  </a:moveTo>
                  <a:lnTo>
                    <a:pt x="2182" y="703"/>
                  </a:lnTo>
                  <a:cubicBezTo>
                    <a:pt x="2536" y="703"/>
                    <a:pt x="3129" y="825"/>
                    <a:pt x="3129" y="1635"/>
                  </a:cubicBezTo>
                  <a:cubicBezTo>
                    <a:pt x="3129" y="2308"/>
                    <a:pt x="2631" y="2611"/>
                    <a:pt x="2138" y="2611"/>
                  </a:cubicBezTo>
                  <a:lnTo>
                    <a:pt x="1516" y="2611"/>
                  </a:lnTo>
                  <a:lnTo>
                    <a:pt x="1516" y="703"/>
                  </a:lnTo>
                  <a:close/>
                  <a:moveTo>
                    <a:pt x="2213" y="5199"/>
                  </a:moveTo>
                  <a:lnTo>
                    <a:pt x="1516" y="5199"/>
                  </a:lnTo>
                  <a:lnTo>
                    <a:pt x="1516" y="3081"/>
                  </a:lnTo>
                  <a:lnTo>
                    <a:pt x="2213" y="3081"/>
                  </a:lnTo>
                  <a:cubicBezTo>
                    <a:pt x="2937" y="3081"/>
                    <a:pt x="3406" y="3513"/>
                    <a:pt x="3406" y="4182"/>
                  </a:cubicBezTo>
                  <a:cubicBezTo>
                    <a:pt x="3406" y="4931"/>
                    <a:pt x="2764" y="5199"/>
                    <a:pt x="2213" y="5199"/>
                  </a:cubicBezTo>
                  <a:close/>
                  <a:moveTo>
                    <a:pt x="8768" y="630"/>
                  </a:moveTo>
                  <a:lnTo>
                    <a:pt x="9385" y="630"/>
                  </a:lnTo>
                  <a:lnTo>
                    <a:pt x="9385" y="4079"/>
                  </a:lnTo>
                  <a:lnTo>
                    <a:pt x="6569" y="228"/>
                  </a:lnTo>
                  <a:lnTo>
                    <a:pt x="5164" y="228"/>
                  </a:lnTo>
                  <a:lnTo>
                    <a:pt x="5164" y="630"/>
                  </a:lnTo>
                  <a:lnTo>
                    <a:pt x="5744" y="630"/>
                  </a:lnTo>
                  <a:lnTo>
                    <a:pt x="5937" y="903"/>
                  </a:lnTo>
                  <a:lnTo>
                    <a:pt x="5937" y="5261"/>
                  </a:lnTo>
                  <a:lnTo>
                    <a:pt x="5323" y="5261"/>
                  </a:lnTo>
                  <a:lnTo>
                    <a:pt x="5323" y="5667"/>
                  </a:lnTo>
                  <a:lnTo>
                    <a:pt x="7060" y="5667"/>
                  </a:lnTo>
                  <a:lnTo>
                    <a:pt x="7060" y="5261"/>
                  </a:lnTo>
                  <a:lnTo>
                    <a:pt x="6448" y="5261"/>
                  </a:lnTo>
                  <a:lnTo>
                    <a:pt x="6448" y="1596"/>
                  </a:lnTo>
                  <a:lnTo>
                    <a:pt x="9471" y="5757"/>
                  </a:lnTo>
                  <a:lnTo>
                    <a:pt x="9893" y="5757"/>
                  </a:lnTo>
                  <a:lnTo>
                    <a:pt x="9893" y="630"/>
                  </a:lnTo>
                  <a:lnTo>
                    <a:pt x="10500" y="630"/>
                  </a:lnTo>
                  <a:lnTo>
                    <a:pt x="10500" y="228"/>
                  </a:lnTo>
                  <a:lnTo>
                    <a:pt x="8768" y="228"/>
                  </a:lnTo>
                  <a:lnTo>
                    <a:pt x="8768" y="630"/>
                  </a:lnTo>
                  <a:close/>
                </a:path>
              </a:pathLst>
            </a:custGeom>
            <a:solidFill>
              <a:srgbClr val="4B4B4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  <p:sp>
          <p:nvSpPr>
            <p:cNvPr id="4" name="Freeform 3"/>
            <p:cNvSpPr>
              <a:spLocks/>
            </p:cNvSpPr>
            <p:nvPr userDrawn="1"/>
          </p:nvSpPr>
          <p:spPr bwMode="gray">
            <a:xfrm>
              <a:off x="5967413" y="5635626"/>
              <a:ext cx="536575" cy="273050"/>
            </a:xfrm>
            <a:custGeom>
              <a:avLst/>
              <a:gdLst/>
              <a:ahLst/>
              <a:cxnLst>
                <a:cxn ang="0">
                  <a:pos x="10208" y="2604"/>
                </a:cxn>
                <a:cxn ang="0">
                  <a:pos x="3549" y="0"/>
                </a:cxn>
                <a:cxn ang="0">
                  <a:pos x="0" y="2604"/>
                </a:cxn>
                <a:cxn ang="0">
                  <a:pos x="3549" y="5207"/>
                </a:cxn>
                <a:cxn ang="0">
                  <a:pos x="10208" y="2604"/>
                </a:cxn>
              </a:cxnLst>
              <a:rect l="0" t="0" r="r" b="b"/>
              <a:pathLst>
                <a:path w="10208" h="5207">
                  <a:moveTo>
                    <a:pt x="10208" y="2604"/>
                  </a:moveTo>
                  <a:lnTo>
                    <a:pt x="3549" y="0"/>
                  </a:lnTo>
                  <a:cubicBezTo>
                    <a:pt x="2119" y="783"/>
                    <a:pt x="948" y="1689"/>
                    <a:pt x="0" y="2604"/>
                  </a:cubicBezTo>
                  <a:cubicBezTo>
                    <a:pt x="948" y="3516"/>
                    <a:pt x="2119" y="4422"/>
                    <a:pt x="3549" y="5207"/>
                  </a:cubicBezTo>
                  <a:lnTo>
                    <a:pt x="10208" y="2604"/>
                  </a:lnTo>
                  <a:close/>
                </a:path>
              </a:pathLst>
            </a:custGeom>
            <a:solidFill>
              <a:srgbClr val="B2863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  <p:sp>
          <p:nvSpPr>
            <p:cNvPr id="5" name="Freeform 4"/>
            <p:cNvSpPr>
              <a:spLocks/>
            </p:cNvSpPr>
            <p:nvPr userDrawn="1"/>
          </p:nvSpPr>
          <p:spPr bwMode="gray">
            <a:xfrm>
              <a:off x="5773738" y="5486401"/>
              <a:ext cx="355600" cy="2508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18" y="4760"/>
                </a:cxn>
                <a:cxn ang="0">
                  <a:pos x="6750" y="2638"/>
                </a:cxn>
                <a:cxn ang="0">
                  <a:pos x="0" y="0"/>
                </a:cxn>
              </a:cxnLst>
              <a:rect l="0" t="0" r="r" b="b"/>
              <a:pathLst>
                <a:path w="6750" h="4760">
                  <a:moveTo>
                    <a:pt x="0" y="0"/>
                  </a:moveTo>
                  <a:cubicBezTo>
                    <a:pt x="0" y="0"/>
                    <a:pt x="705" y="2292"/>
                    <a:pt x="3018" y="4760"/>
                  </a:cubicBezTo>
                  <a:cubicBezTo>
                    <a:pt x="4044" y="3972"/>
                    <a:pt x="5281" y="3254"/>
                    <a:pt x="6750" y="2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A9A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5773738" y="5807076"/>
              <a:ext cx="355600" cy="250825"/>
            </a:xfrm>
            <a:custGeom>
              <a:avLst/>
              <a:gdLst/>
              <a:ahLst/>
              <a:cxnLst>
                <a:cxn ang="0">
                  <a:pos x="0" y="4760"/>
                </a:cxn>
                <a:cxn ang="0">
                  <a:pos x="3018" y="0"/>
                </a:cxn>
                <a:cxn ang="0">
                  <a:pos x="6750" y="2122"/>
                </a:cxn>
                <a:cxn ang="0">
                  <a:pos x="0" y="4760"/>
                </a:cxn>
              </a:cxnLst>
              <a:rect l="0" t="0" r="r" b="b"/>
              <a:pathLst>
                <a:path w="6750" h="4760">
                  <a:moveTo>
                    <a:pt x="0" y="4760"/>
                  </a:moveTo>
                  <a:cubicBezTo>
                    <a:pt x="0" y="4760"/>
                    <a:pt x="705" y="2469"/>
                    <a:pt x="3018" y="0"/>
                  </a:cubicBezTo>
                  <a:cubicBezTo>
                    <a:pt x="4044" y="789"/>
                    <a:pt x="5281" y="1505"/>
                    <a:pt x="6750" y="2122"/>
                  </a:cubicBezTo>
                  <a:lnTo>
                    <a:pt x="0" y="4760"/>
                  </a:lnTo>
                  <a:close/>
                </a:path>
              </a:pathLst>
            </a:custGeom>
            <a:solidFill>
              <a:srgbClr val="A7997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4B4B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80025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 bwMode="auto"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 descr="bny_rgb_pos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288925"/>
            <a:ext cx="2185988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481013" y="6481769"/>
            <a:ext cx="31115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i="1" dirty="0" smtClean="0">
                <a:solidFill>
                  <a:srgbClr val="7F7F7F"/>
                </a:solidFill>
              </a:rPr>
              <a:t>Information Security Identification: Confidential</a:t>
            </a:r>
          </a:p>
        </p:txBody>
      </p:sp>
      <p:sp>
        <p:nvSpPr>
          <p:cNvPr id="40962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38410" y="1363663"/>
            <a:ext cx="4612391" cy="1852612"/>
          </a:xfrm>
        </p:spPr>
        <p:txBody>
          <a:bodyPr>
            <a:normAutofit/>
          </a:bodyPr>
          <a:lstStyle>
            <a:lvl1pPr>
              <a:defRPr sz="2800" cap="all" baseline="0" smtClean="0"/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0964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350521" y="3413125"/>
            <a:ext cx="4617720" cy="39322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defRPr sz="1600" b="0" i="0" cap="none" baseline="0" smtClean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959487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8810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2735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509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67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0053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9719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8932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524A64-B73F-400B-BD33-08BEC5477ED3}" type="datetimeFigureOut">
              <a:rPr lang="en-US" smtClean="0"/>
              <a:t>9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EC4AF-4ACC-4593-8CBD-BB95EA2BAB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073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300014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 bwMode="auto">
          <a:xfrm>
            <a:off x="227013" y="6507165"/>
            <a:ext cx="411162" cy="346075"/>
          </a:xfrm>
          <a:prstGeom prst="rect">
            <a:avLst/>
          </a:prstGeom>
          <a:ln/>
        </p:spPr>
        <p:txBody>
          <a:bodyPr wrap="none" anchor="ctr"/>
          <a:lstStyle>
            <a:defPPr>
              <a:defRPr lang="en-US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10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fld id="{6A3AA123-6F84-4701-B39B-3E0FF6808B2E}" type="slidenum">
              <a:rPr lang="en-US" smtClean="0">
                <a:solidFill>
                  <a:srgbClr val="000000"/>
                </a:solidFill>
              </a:rPr>
              <a:pPr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50"/>
          <p:cNvSpPr>
            <a:spLocks noChangeArrowheads="1"/>
          </p:cNvSpPr>
          <p:nvPr userDrawn="1"/>
        </p:nvSpPr>
        <p:spPr bwMode="auto">
          <a:xfrm>
            <a:off x="654050" y="6572250"/>
            <a:ext cx="6359525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lnSpc>
                <a:spcPct val="95000"/>
              </a:lnSpc>
              <a:defRPr/>
            </a:pPr>
            <a:r>
              <a:rPr lang="en-GB" sz="800" i="1" dirty="0">
                <a:solidFill>
                  <a:srgbClr val="000000"/>
                </a:solidFill>
              </a:rPr>
              <a:t>Information Classification: Confidential</a:t>
            </a:r>
          </a:p>
        </p:txBody>
      </p:sp>
      <p:cxnSp>
        <p:nvCxnSpPr>
          <p:cNvPr id="1028" name="Straight Connector 14"/>
          <p:cNvCxnSpPr>
            <a:cxnSpLocks noChangeShapeType="1"/>
          </p:cNvCxnSpPr>
          <p:nvPr userDrawn="1"/>
        </p:nvCxnSpPr>
        <p:spPr bwMode="gray">
          <a:xfrm>
            <a:off x="0" y="6494463"/>
            <a:ext cx="9144000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029" name="Title Placeholder 1"/>
          <p:cNvSpPr>
            <a:spLocks noGrp="1"/>
          </p:cNvSpPr>
          <p:nvPr>
            <p:ph type="title"/>
          </p:nvPr>
        </p:nvSpPr>
        <p:spPr bwMode="auto">
          <a:xfrm>
            <a:off x="227014" y="458788"/>
            <a:ext cx="868362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27013" y="1763713"/>
            <a:ext cx="8685212" cy="440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1" name="Freeform 10"/>
          <p:cNvSpPr>
            <a:spLocks noChangeAspect="1" noEditPoints="1"/>
          </p:cNvSpPr>
          <p:nvPr userDrawn="1"/>
        </p:nvSpPr>
        <p:spPr bwMode="gray">
          <a:xfrm>
            <a:off x="7772400" y="6600825"/>
            <a:ext cx="1143000" cy="127000"/>
          </a:xfrm>
          <a:custGeom>
            <a:avLst/>
            <a:gdLst/>
            <a:ahLst/>
            <a:cxnLst>
              <a:cxn ang="0">
                <a:pos x="28318" y="3136"/>
              </a:cxn>
              <a:cxn ang="0">
                <a:pos x="30217" y="3756"/>
              </a:cxn>
              <a:cxn ang="0">
                <a:pos x="29740" y="2668"/>
              </a:cxn>
              <a:cxn ang="0">
                <a:pos x="30128" y="703"/>
              </a:cxn>
              <a:cxn ang="0">
                <a:pos x="30597" y="0"/>
              </a:cxn>
              <a:cxn ang="0">
                <a:pos x="26804" y="228"/>
              </a:cxn>
              <a:cxn ang="0">
                <a:pos x="27408" y="5260"/>
              </a:cxn>
              <a:cxn ang="0">
                <a:pos x="30678" y="5667"/>
              </a:cxn>
              <a:cxn ang="0">
                <a:pos x="30202" y="5199"/>
              </a:cxn>
              <a:cxn ang="0">
                <a:pos x="51313" y="630"/>
              </a:cxn>
              <a:cxn ang="0">
                <a:pos x="47090" y="228"/>
              </a:cxn>
              <a:cxn ang="0">
                <a:pos x="47867" y="903"/>
              </a:cxn>
              <a:cxn ang="0">
                <a:pos x="47254" y="5667"/>
              </a:cxn>
              <a:cxn ang="0">
                <a:pos x="48376" y="5260"/>
              </a:cxn>
              <a:cxn ang="0">
                <a:pos x="51823" y="5757"/>
              </a:cxn>
              <a:cxn ang="0">
                <a:pos x="52429" y="228"/>
              </a:cxn>
              <a:cxn ang="0">
                <a:pos x="40985" y="2955"/>
              </a:cxn>
              <a:cxn ang="0">
                <a:pos x="43694" y="130"/>
              </a:cxn>
              <a:cxn ang="0">
                <a:pos x="43703" y="656"/>
              </a:cxn>
              <a:cxn ang="0">
                <a:pos x="22403" y="4138"/>
              </a:cxn>
              <a:cxn ang="0">
                <a:pos x="19053" y="630"/>
              </a:cxn>
              <a:cxn ang="0">
                <a:pos x="19053" y="5260"/>
              </a:cxn>
              <a:cxn ang="0">
                <a:pos x="20790" y="5260"/>
              </a:cxn>
              <a:cxn ang="0">
                <a:pos x="22205" y="5821"/>
              </a:cxn>
              <a:cxn ang="0">
                <a:pos x="23526" y="5260"/>
              </a:cxn>
              <a:cxn ang="0">
                <a:pos x="25647" y="5260"/>
              </a:cxn>
              <a:cxn ang="0">
                <a:pos x="25647" y="630"/>
              </a:cxn>
              <a:cxn ang="0">
                <a:pos x="22403" y="4138"/>
              </a:cxn>
              <a:cxn ang="0">
                <a:pos x="33514" y="630"/>
              </a:cxn>
              <a:cxn ang="0">
                <a:pos x="31997" y="228"/>
              </a:cxn>
              <a:cxn ang="0">
                <a:pos x="32604" y="5260"/>
              </a:cxn>
              <a:cxn ang="0">
                <a:pos x="35780" y="5667"/>
              </a:cxn>
              <a:cxn ang="0">
                <a:pos x="35303" y="5199"/>
              </a:cxn>
              <a:cxn ang="0">
                <a:pos x="38171" y="630"/>
              </a:cxn>
              <a:cxn ang="0">
                <a:pos x="36654" y="228"/>
              </a:cxn>
              <a:cxn ang="0">
                <a:pos x="37263" y="5260"/>
              </a:cxn>
              <a:cxn ang="0">
                <a:pos x="40438" y="5667"/>
              </a:cxn>
              <a:cxn ang="0">
                <a:pos x="39964" y="5199"/>
              </a:cxn>
              <a:cxn ang="0">
                <a:pos x="13736" y="2558"/>
              </a:cxn>
              <a:cxn ang="0">
                <a:pos x="13111" y="228"/>
              </a:cxn>
              <a:cxn ang="0">
                <a:pos x="11404" y="630"/>
              </a:cxn>
              <a:cxn ang="0">
                <a:pos x="12453" y="5260"/>
              </a:cxn>
              <a:cxn ang="0">
                <a:pos x="14574" y="5260"/>
              </a:cxn>
              <a:cxn ang="0">
                <a:pos x="15489" y="630"/>
              </a:cxn>
              <a:cxn ang="0">
                <a:pos x="14209" y="228"/>
              </a:cxn>
              <a:cxn ang="0">
                <a:pos x="4078" y="1603"/>
              </a:cxn>
              <a:cxn ang="0">
                <a:pos x="0" y="630"/>
              </a:cxn>
              <a:cxn ang="0">
                <a:pos x="0" y="5260"/>
              </a:cxn>
              <a:cxn ang="0">
                <a:pos x="4337" y="4224"/>
              </a:cxn>
              <a:cxn ang="0">
                <a:pos x="2182" y="703"/>
              </a:cxn>
              <a:cxn ang="0">
                <a:pos x="1516" y="2611"/>
              </a:cxn>
              <a:cxn ang="0">
                <a:pos x="1516" y="5199"/>
              </a:cxn>
              <a:cxn ang="0">
                <a:pos x="3406" y="4182"/>
              </a:cxn>
              <a:cxn ang="0">
                <a:pos x="9385" y="630"/>
              </a:cxn>
              <a:cxn ang="0">
                <a:pos x="5164" y="228"/>
              </a:cxn>
              <a:cxn ang="0">
                <a:pos x="5937" y="903"/>
              </a:cxn>
              <a:cxn ang="0">
                <a:pos x="5323" y="5667"/>
              </a:cxn>
              <a:cxn ang="0">
                <a:pos x="6448" y="5261"/>
              </a:cxn>
              <a:cxn ang="0">
                <a:pos x="9893" y="5757"/>
              </a:cxn>
              <a:cxn ang="0">
                <a:pos x="10500" y="228"/>
              </a:cxn>
            </a:cxnLst>
            <a:rect l="0" t="0" r="r" b="b"/>
            <a:pathLst>
              <a:path w="52429" h="5821">
                <a:moveTo>
                  <a:pt x="30202" y="5199"/>
                </a:moveTo>
                <a:lnTo>
                  <a:pt x="28318" y="5199"/>
                </a:lnTo>
                <a:lnTo>
                  <a:pt x="28318" y="3136"/>
                </a:lnTo>
                <a:lnTo>
                  <a:pt x="29740" y="3136"/>
                </a:lnTo>
                <a:lnTo>
                  <a:pt x="29740" y="3756"/>
                </a:lnTo>
                <a:lnTo>
                  <a:pt x="30217" y="3756"/>
                </a:lnTo>
                <a:lnTo>
                  <a:pt x="30217" y="2057"/>
                </a:lnTo>
                <a:lnTo>
                  <a:pt x="29740" y="2057"/>
                </a:lnTo>
                <a:lnTo>
                  <a:pt x="29740" y="2668"/>
                </a:lnTo>
                <a:lnTo>
                  <a:pt x="28318" y="2668"/>
                </a:lnTo>
                <a:lnTo>
                  <a:pt x="28318" y="703"/>
                </a:lnTo>
                <a:lnTo>
                  <a:pt x="30128" y="703"/>
                </a:lnTo>
                <a:lnTo>
                  <a:pt x="30128" y="1392"/>
                </a:lnTo>
                <a:lnTo>
                  <a:pt x="30597" y="1392"/>
                </a:lnTo>
                <a:lnTo>
                  <a:pt x="30597" y="0"/>
                </a:lnTo>
                <a:lnTo>
                  <a:pt x="30120" y="0"/>
                </a:lnTo>
                <a:lnTo>
                  <a:pt x="30120" y="228"/>
                </a:lnTo>
                <a:lnTo>
                  <a:pt x="26804" y="228"/>
                </a:lnTo>
                <a:lnTo>
                  <a:pt x="26804" y="630"/>
                </a:lnTo>
                <a:lnTo>
                  <a:pt x="27408" y="630"/>
                </a:lnTo>
                <a:lnTo>
                  <a:pt x="27408" y="5260"/>
                </a:lnTo>
                <a:lnTo>
                  <a:pt x="26804" y="5260"/>
                </a:lnTo>
                <a:lnTo>
                  <a:pt x="26804" y="5667"/>
                </a:lnTo>
                <a:lnTo>
                  <a:pt x="30678" y="5667"/>
                </a:lnTo>
                <a:lnTo>
                  <a:pt x="30678" y="4486"/>
                </a:lnTo>
                <a:lnTo>
                  <a:pt x="30202" y="4486"/>
                </a:lnTo>
                <a:lnTo>
                  <a:pt x="30202" y="5199"/>
                </a:lnTo>
                <a:close/>
                <a:moveTo>
                  <a:pt x="50699" y="228"/>
                </a:moveTo>
                <a:lnTo>
                  <a:pt x="50699" y="630"/>
                </a:lnTo>
                <a:lnTo>
                  <a:pt x="51313" y="630"/>
                </a:lnTo>
                <a:lnTo>
                  <a:pt x="51313" y="4079"/>
                </a:lnTo>
                <a:lnTo>
                  <a:pt x="48500" y="228"/>
                </a:lnTo>
                <a:lnTo>
                  <a:pt x="47090" y="228"/>
                </a:lnTo>
                <a:lnTo>
                  <a:pt x="47090" y="630"/>
                </a:lnTo>
                <a:lnTo>
                  <a:pt x="47673" y="630"/>
                </a:lnTo>
                <a:lnTo>
                  <a:pt x="47867" y="903"/>
                </a:lnTo>
                <a:lnTo>
                  <a:pt x="47867" y="5260"/>
                </a:lnTo>
                <a:lnTo>
                  <a:pt x="47254" y="5260"/>
                </a:lnTo>
                <a:lnTo>
                  <a:pt x="47254" y="5667"/>
                </a:lnTo>
                <a:lnTo>
                  <a:pt x="48991" y="5667"/>
                </a:lnTo>
                <a:lnTo>
                  <a:pt x="48991" y="5260"/>
                </a:lnTo>
                <a:lnTo>
                  <a:pt x="48376" y="5260"/>
                </a:lnTo>
                <a:lnTo>
                  <a:pt x="48376" y="1596"/>
                </a:lnTo>
                <a:lnTo>
                  <a:pt x="51399" y="5757"/>
                </a:lnTo>
                <a:lnTo>
                  <a:pt x="51823" y="5757"/>
                </a:lnTo>
                <a:lnTo>
                  <a:pt x="51823" y="630"/>
                </a:lnTo>
                <a:lnTo>
                  <a:pt x="52429" y="630"/>
                </a:lnTo>
                <a:lnTo>
                  <a:pt x="52429" y="228"/>
                </a:lnTo>
                <a:lnTo>
                  <a:pt x="50699" y="228"/>
                </a:lnTo>
                <a:close/>
                <a:moveTo>
                  <a:pt x="43694" y="130"/>
                </a:moveTo>
                <a:cubicBezTo>
                  <a:pt x="42201" y="130"/>
                  <a:pt x="40985" y="1397"/>
                  <a:pt x="40985" y="2955"/>
                </a:cubicBezTo>
                <a:cubicBezTo>
                  <a:pt x="40985" y="4508"/>
                  <a:pt x="42201" y="5771"/>
                  <a:pt x="43694" y="5771"/>
                </a:cubicBezTo>
                <a:cubicBezTo>
                  <a:pt x="45177" y="5771"/>
                  <a:pt x="46381" y="4504"/>
                  <a:pt x="46381" y="2947"/>
                </a:cubicBezTo>
                <a:cubicBezTo>
                  <a:pt x="46381" y="1393"/>
                  <a:pt x="45177" y="130"/>
                  <a:pt x="43694" y="130"/>
                </a:cubicBezTo>
                <a:close/>
                <a:moveTo>
                  <a:pt x="43694" y="5245"/>
                </a:moveTo>
                <a:cubicBezTo>
                  <a:pt x="42686" y="5245"/>
                  <a:pt x="41982" y="4299"/>
                  <a:pt x="41982" y="2947"/>
                </a:cubicBezTo>
                <a:cubicBezTo>
                  <a:pt x="41982" y="1597"/>
                  <a:pt x="42692" y="656"/>
                  <a:pt x="43703" y="656"/>
                </a:cubicBezTo>
                <a:cubicBezTo>
                  <a:pt x="44692" y="656"/>
                  <a:pt x="45384" y="1597"/>
                  <a:pt x="45384" y="2947"/>
                </a:cubicBezTo>
                <a:cubicBezTo>
                  <a:pt x="45384" y="4299"/>
                  <a:pt x="44690" y="5245"/>
                  <a:pt x="43694" y="5245"/>
                </a:cubicBezTo>
                <a:close/>
                <a:moveTo>
                  <a:pt x="22403" y="4138"/>
                </a:moveTo>
                <a:lnTo>
                  <a:pt x="20571" y="228"/>
                </a:lnTo>
                <a:lnTo>
                  <a:pt x="19053" y="228"/>
                </a:lnTo>
                <a:lnTo>
                  <a:pt x="19053" y="630"/>
                </a:lnTo>
                <a:lnTo>
                  <a:pt x="19666" y="630"/>
                </a:lnTo>
                <a:lnTo>
                  <a:pt x="19666" y="5260"/>
                </a:lnTo>
                <a:lnTo>
                  <a:pt x="19053" y="5260"/>
                </a:lnTo>
                <a:lnTo>
                  <a:pt x="19053" y="5667"/>
                </a:lnTo>
                <a:lnTo>
                  <a:pt x="20790" y="5667"/>
                </a:lnTo>
                <a:lnTo>
                  <a:pt x="20790" y="5260"/>
                </a:lnTo>
                <a:lnTo>
                  <a:pt x="20177" y="5260"/>
                </a:lnTo>
                <a:lnTo>
                  <a:pt x="20177" y="1488"/>
                </a:lnTo>
                <a:lnTo>
                  <a:pt x="22205" y="5821"/>
                </a:lnTo>
                <a:lnTo>
                  <a:pt x="24131" y="1583"/>
                </a:lnTo>
                <a:lnTo>
                  <a:pt x="24131" y="5260"/>
                </a:lnTo>
                <a:lnTo>
                  <a:pt x="23526" y="5260"/>
                </a:lnTo>
                <a:lnTo>
                  <a:pt x="23526" y="5667"/>
                </a:lnTo>
                <a:lnTo>
                  <a:pt x="25647" y="5667"/>
                </a:lnTo>
                <a:lnTo>
                  <a:pt x="25647" y="5260"/>
                </a:lnTo>
                <a:lnTo>
                  <a:pt x="25039" y="5260"/>
                </a:lnTo>
                <a:lnTo>
                  <a:pt x="25039" y="630"/>
                </a:lnTo>
                <a:lnTo>
                  <a:pt x="25647" y="630"/>
                </a:lnTo>
                <a:lnTo>
                  <a:pt x="25647" y="228"/>
                </a:lnTo>
                <a:lnTo>
                  <a:pt x="24205" y="228"/>
                </a:lnTo>
                <a:lnTo>
                  <a:pt x="22403" y="4138"/>
                </a:lnTo>
                <a:close/>
                <a:moveTo>
                  <a:pt x="35303" y="5199"/>
                </a:moveTo>
                <a:lnTo>
                  <a:pt x="33514" y="5199"/>
                </a:lnTo>
                <a:lnTo>
                  <a:pt x="33514" y="630"/>
                </a:lnTo>
                <a:lnTo>
                  <a:pt x="34122" y="630"/>
                </a:lnTo>
                <a:lnTo>
                  <a:pt x="34122" y="228"/>
                </a:lnTo>
                <a:lnTo>
                  <a:pt x="31997" y="228"/>
                </a:lnTo>
                <a:lnTo>
                  <a:pt x="31997" y="630"/>
                </a:lnTo>
                <a:lnTo>
                  <a:pt x="32604" y="630"/>
                </a:lnTo>
                <a:lnTo>
                  <a:pt x="32604" y="5260"/>
                </a:lnTo>
                <a:lnTo>
                  <a:pt x="31997" y="5260"/>
                </a:lnTo>
                <a:lnTo>
                  <a:pt x="31997" y="5667"/>
                </a:lnTo>
                <a:lnTo>
                  <a:pt x="35780" y="5667"/>
                </a:lnTo>
                <a:lnTo>
                  <a:pt x="35780" y="4486"/>
                </a:lnTo>
                <a:lnTo>
                  <a:pt x="35303" y="4486"/>
                </a:lnTo>
                <a:lnTo>
                  <a:pt x="35303" y="5199"/>
                </a:lnTo>
                <a:close/>
                <a:moveTo>
                  <a:pt x="39964" y="5199"/>
                </a:moveTo>
                <a:lnTo>
                  <a:pt x="38171" y="5199"/>
                </a:lnTo>
                <a:lnTo>
                  <a:pt x="38171" y="630"/>
                </a:lnTo>
                <a:lnTo>
                  <a:pt x="38776" y="630"/>
                </a:lnTo>
                <a:lnTo>
                  <a:pt x="38776" y="228"/>
                </a:lnTo>
                <a:lnTo>
                  <a:pt x="36654" y="228"/>
                </a:lnTo>
                <a:lnTo>
                  <a:pt x="36654" y="630"/>
                </a:lnTo>
                <a:lnTo>
                  <a:pt x="37263" y="630"/>
                </a:lnTo>
                <a:lnTo>
                  <a:pt x="37263" y="5260"/>
                </a:lnTo>
                <a:lnTo>
                  <a:pt x="36654" y="5260"/>
                </a:lnTo>
                <a:lnTo>
                  <a:pt x="36654" y="5667"/>
                </a:lnTo>
                <a:lnTo>
                  <a:pt x="40438" y="5667"/>
                </a:lnTo>
                <a:lnTo>
                  <a:pt x="40438" y="4486"/>
                </a:lnTo>
                <a:lnTo>
                  <a:pt x="39964" y="4486"/>
                </a:lnTo>
                <a:lnTo>
                  <a:pt x="39964" y="5199"/>
                </a:lnTo>
                <a:close/>
                <a:moveTo>
                  <a:pt x="14209" y="630"/>
                </a:moveTo>
                <a:lnTo>
                  <a:pt x="14905" y="630"/>
                </a:lnTo>
                <a:lnTo>
                  <a:pt x="13736" y="2558"/>
                </a:lnTo>
                <a:lnTo>
                  <a:pt x="12480" y="630"/>
                </a:lnTo>
                <a:lnTo>
                  <a:pt x="13111" y="630"/>
                </a:lnTo>
                <a:lnTo>
                  <a:pt x="13111" y="228"/>
                </a:lnTo>
                <a:lnTo>
                  <a:pt x="10914" y="228"/>
                </a:lnTo>
                <a:lnTo>
                  <a:pt x="10914" y="630"/>
                </a:lnTo>
                <a:lnTo>
                  <a:pt x="11404" y="630"/>
                </a:lnTo>
                <a:lnTo>
                  <a:pt x="13059" y="3173"/>
                </a:lnTo>
                <a:lnTo>
                  <a:pt x="13059" y="5260"/>
                </a:lnTo>
                <a:lnTo>
                  <a:pt x="12453" y="5260"/>
                </a:lnTo>
                <a:lnTo>
                  <a:pt x="12453" y="5667"/>
                </a:lnTo>
                <a:lnTo>
                  <a:pt x="14574" y="5667"/>
                </a:lnTo>
                <a:lnTo>
                  <a:pt x="14574" y="5260"/>
                </a:lnTo>
                <a:lnTo>
                  <a:pt x="13960" y="5260"/>
                </a:lnTo>
                <a:lnTo>
                  <a:pt x="13960" y="3125"/>
                </a:lnTo>
                <a:lnTo>
                  <a:pt x="15489" y="630"/>
                </a:lnTo>
                <a:lnTo>
                  <a:pt x="15930" y="630"/>
                </a:lnTo>
                <a:lnTo>
                  <a:pt x="15930" y="228"/>
                </a:lnTo>
                <a:lnTo>
                  <a:pt x="14209" y="228"/>
                </a:lnTo>
                <a:lnTo>
                  <a:pt x="14209" y="630"/>
                </a:lnTo>
                <a:close/>
                <a:moveTo>
                  <a:pt x="3080" y="2796"/>
                </a:moveTo>
                <a:cubicBezTo>
                  <a:pt x="3596" y="2648"/>
                  <a:pt x="4078" y="2246"/>
                  <a:pt x="4078" y="1603"/>
                </a:cubicBezTo>
                <a:cubicBezTo>
                  <a:pt x="4078" y="768"/>
                  <a:pt x="3458" y="228"/>
                  <a:pt x="2496" y="228"/>
                </a:cubicBezTo>
                <a:lnTo>
                  <a:pt x="0" y="228"/>
                </a:lnTo>
                <a:lnTo>
                  <a:pt x="0" y="630"/>
                </a:lnTo>
                <a:lnTo>
                  <a:pt x="605" y="630"/>
                </a:lnTo>
                <a:lnTo>
                  <a:pt x="605" y="5260"/>
                </a:lnTo>
                <a:lnTo>
                  <a:pt x="0" y="5260"/>
                </a:lnTo>
                <a:lnTo>
                  <a:pt x="0" y="5667"/>
                </a:lnTo>
                <a:lnTo>
                  <a:pt x="2639" y="5667"/>
                </a:lnTo>
                <a:cubicBezTo>
                  <a:pt x="3657" y="5667"/>
                  <a:pt x="4337" y="5087"/>
                  <a:pt x="4337" y="4224"/>
                </a:cubicBezTo>
                <a:cubicBezTo>
                  <a:pt x="4337" y="3370"/>
                  <a:pt x="3724" y="2936"/>
                  <a:pt x="3080" y="2796"/>
                </a:cubicBezTo>
                <a:close/>
                <a:moveTo>
                  <a:pt x="1516" y="703"/>
                </a:moveTo>
                <a:lnTo>
                  <a:pt x="2182" y="703"/>
                </a:lnTo>
                <a:cubicBezTo>
                  <a:pt x="2536" y="703"/>
                  <a:pt x="3129" y="825"/>
                  <a:pt x="3129" y="1635"/>
                </a:cubicBezTo>
                <a:cubicBezTo>
                  <a:pt x="3129" y="2308"/>
                  <a:pt x="2631" y="2611"/>
                  <a:pt x="2138" y="2611"/>
                </a:cubicBezTo>
                <a:lnTo>
                  <a:pt x="1516" y="2611"/>
                </a:lnTo>
                <a:lnTo>
                  <a:pt x="1516" y="703"/>
                </a:lnTo>
                <a:close/>
                <a:moveTo>
                  <a:pt x="2213" y="5199"/>
                </a:moveTo>
                <a:lnTo>
                  <a:pt x="1516" y="5199"/>
                </a:lnTo>
                <a:lnTo>
                  <a:pt x="1516" y="3081"/>
                </a:lnTo>
                <a:lnTo>
                  <a:pt x="2213" y="3081"/>
                </a:lnTo>
                <a:cubicBezTo>
                  <a:pt x="2937" y="3081"/>
                  <a:pt x="3406" y="3513"/>
                  <a:pt x="3406" y="4182"/>
                </a:cubicBezTo>
                <a:cubicBezTo>
                  <a:pt x="3406" y="4931"/>
                  <a:pt x="2764" y="5199"/>
                  <a:pt x="2213" y="5199"/>
                </a:cubicBezTo>
                <a:close/>
                <a:moveTo>
                  <a:pt x="8768" y="630"/>
                </a:moveTo>
                <a:lnTo>
                  <a:pt x="9385" y="630"/>
                </a:lnTo>
                <a:lnTo>
                  <a:pt x="9385" y="4079"/>
                </a:lnTo>
                <a:lnTo>
                  <a:pt x="6569" y="228"/>
                </a:lnTo>
                <a:lnTo>
                  <a:pt x="5164" y="228"/>
                </a:lnTo>
                <a:lnTo>
                  <a:pt x="5164" y="630"/>
                </a:lnTo>
                <a:lnTo>
                  <a:pt x="5744" y="630"/>
                </a:lnTo>
                <a:lnTo>
                  <a:pt x="5937" y="903"/>
                </a:lnTo>
                <a:lnTo>
                  <a:pt x="5937" y="5261"/>
                </a:lnTo>
                <a:lnTo>
                  <a:pt x="5323" y="5261"/>
                </a:lnTo>
                <a:lnTo>
                  <a:pt x="5323" y="5667"/>
                </a:lnTo>
                <a:lnTo>
                  <a:pt x="7060" y="5667"/>
                </a:lnTo>
                <a:lnTo>
                  <a:pt x="7060" y="5261"/>
                </a:lnTo>
                <a:lnTo>
                  <a:pt x="6448" y="5261"/>
                </a:lnTo>
                <a:lnTo>
                  <a:pt x="6448" y="1596"/>
                </a:lnTo>
                <a:lnTo>
                  <a:pt x="9471" y="5757"/>
                </a:lnTo>
                <a:lnTo>
                  <a:pt x="9893" y="5757"/>
                </a:lnTo>
                <a:lnTo>
                  <a:pt x="9893" y="630"/>
                </a:lnTo>
                <a:lnTo>
                  <a:pt x="10500" y="630"/>
                </a:lnTo>
                <a:lnTo>
                  <a:pt x="10500" y="228"/>
                </a:lnTo>
                <a:lnTo>
                  <a:pt x="8768" y="228"/>
                </a:lnTo>
                <a:lnTo>
                  <a:pt x="8768" y="630"/>
                </a:lnTo>
                <a:close/>
              </a:path>
            </a:pathLst>
          </a:custGeom>
          <a:solidFill>
            <a:srgbClr val="4B4B4B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663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rtl="0" fontAlgn="base">
        <a:spcBef>
          <a:spcPct val="0"/>
        </a:spcBef>
        <a:spcAft>
          <a:spcPct val="0"/>
        </a:spcAft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9pPr>
    </p:titleStyle>
    <p:bodyStyle>
      <a:lvl1pPr marL="169863" indent="-169863" algn="l" rtl="0" fontAlgn="base">
        <a:spcBef>
          <a:spcPts val="1200"/>
        </a:spcBef>
        <a:spcAft>
          <a:spcPct val="0"/>
        </a:spcAft>
        <a:buFont typeface="Arial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1pPr>
      <a:lvl2pPr marL="396875" indent="-160338" algn="l" rtl="0" fontAlgn="base">
        <a:spcBef>
          <a:spcPts val="1200"/>
        </a:spcBef>
        <a:spcAft>
          <a:spcPct val="0"/>
        </a:spcAft>
        <a:buFont typeface="Arial" charset="0"/>
        <a:buChar char="–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741363" indent="-166688" algn="l" rtl="0" fontAlgn="base">
        <a:spcBef>
          <a:spcPts val="600"/>
        </a:spcBef>
        <a:spcAft>
          <a:spcPct val="0"/>
        </a:spcAft>
        <a:buFont typeface="Arial" charset="0"/>
        <a:buChar char="˃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1030288" indent="-169863" algn="l" rtl="0" fontAlgn="base">
        <a:spcBef>
          <a:spcPts val="600"/>
        </a:spcBef>
        <a:spcAft>
          <a:spcPct val="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314450" indent="-171450" algn="l" rtl="0" fontAlgn="base">
        <a:spcBef>
          <a:spcPts val="600"/>
        </a:spcBef>
        <a:spcAft>
          <a:spcPct val="0"/>
        </a:spcAft>
        <a:buFont typeface="Arial" charset="0"/>
        <a:buChar char="–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15" descr="bny_rgb_pos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384175"/>
            <a:ext cx="2185988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60559" y="2169588"/>
            <a:ext cx="4592441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4B4B4B">
                    <a:lumMod val="50000"/>
                  </a:srgbClr>
                </a:solidFill>
              </a:rPr>
              <a:t>Asset Servicing</a:t>
            </a:r>
            <a:endParaRPr lang="en-US" sz="2800" dirty="0">
              <a:solidFill>
                <a:srgbClr val="4B4B4B">
                  <a:lumMod val="50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616265"/>
                </a:solidFill>
              </a:rPr>
              <a:t>Text Analytics - Service Director Dashboard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dirty="0" smtClean="0">
              <a:solidFill>
                <a:srgbClr val="616265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rgbClr val="616265"/>
                </a:solidFill>
              </a:rPr>
              <a:t>BKI Analytics</a:t>
            </a:r>
            <a:endParaRPr lang="en-US" sz="2800" dirty="0">
              <a:solidFill>
                <a:srgbClr val="6162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32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4695" y="0"/>
            <a:ext cx="1126905" cy="504608"/>
          </a:xfrm>
          <a:prstGeom prst="rect">
            <a:avLst/>
          </a:prstGeom>
        </p:spPr>
      </p:pic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4489" y="1915352"/>
            <a:ext cx="2048153" cy="2042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0" y="57090"/>
            <a:ext cx="66979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prstClr val="black">
                    <a:lumMod val="95000"/>
                    <a:lumOff val="5000"/>
                  </a:prstClr>
                </a:solidFill>
                <a:latin typeface="Arial" charset="0"/>
              </a:rPr>
              <a:t>Service Director Dashboard – </a:t>
            </a:r>
            <a:r>
              <a:rPr lang="en-US" sz="20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charset="0"/>
              </a:rPr>
              <a:t>CIS Text </a:t>
            </a:r>
            <a:r>
              <a:rPr lang="en-US" sz="2000" dirty="0">
                <a:solidFill>
                  <a:prstClr val="black">
                    <a:lumMod val="95000"/>
                    <a:lumOff val="5000"/>
                  </a:prstClr>
                </a:solidFill>
                <a:latin typeface="Arial" charset="0"/>
              </a:rPr>
              <a:t>Analytics</a:t>
            </a:r>
            <a:endParaRPr lang="en-US" dirty="0">
              <a:solidFill>
                <a:prstClr val="black">
                  <a:lumMod val="95000"/>
                  <a:lumOff val="5000"/>
                </a:prstClr>
              </a:solidFill>
              <a:latin typeface="Arial" charset="0"/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>
            <a:off x="4101117" y="613202"/>
            <a:ext cx="1" cy="114300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6282764" y="608112"/>
            <a:ext cx="0" cy="114809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2099134" y="613202"/>
            <a:ext cx="1" cy="114300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Isosceles Triangle 75"/>
          <p:cNvSpPr/>
          <p:nvPr/>
        </p:nvSpPr>
        <p:spPr>
          <a:xfrm rot="5400000">
            <a:off x="2048335" y="1123742"/>
            <a:ext cx="228600" cy="114672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7" name="Isosceles Triangle 76"/>
          <p:cNvSpPr/>
          <p:nvPr/>
        </p:nvSpPr>
        <p:spPr>
          <a:xfrm rot="5400000">
            <a:off x="4048164" y="1123742"/>
            <a:ext cx="228600" cy="114672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Isosceles Triangle 77"/>
          <p:cNvSpPr/>
          <p:nvPr/>
        </p:nvSpPr>
        <p:spPr>
          <a:xfrm rot="5400000">
            <a:off x="6238500" y="1123742"/>
            <a:ext cx="228600" cy="114672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6765256" y="531674"/>
            <a:ext cx="1663328" cy="1338828"/>
          </a:xfrm>
          <a:prstGeom prst="rect">
            <a:avLst/>
          </a:prstGeom>
          <a:solidFill>
            <a:srgbClr val="FFC300"/>
          </a:solidFill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FURTHER OPPORTUNIT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ntegrate data from different sources in a single repository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ssue Root Cause Identifica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Client Churn/ Business Loss predic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341140" y="531674"/>
            <a:ext cx="1843966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B45608"/>
                </a:solidFill>
                <a:latin typeface="Arial" charset="0"/>
              </a:rPr>
              <a:t>CURRENT SOLUTION BENEFI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Text Analytics to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dentify latent themes running behind the reported issues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Further drill down individual issue categories and detail  Reporting </a:t>
            </a:r>
          </a:p>
        </p:txBody>
      </p:sp>
      <p:sp>
        <p:nvSpPr>
          <p:cNvPr id="81" name="Rectangle 80"/>
          <p:cNvSpPr/>
          <p:nvPr/>
        </p:nvSpPr>
        <p:spPr>
          <a:xfrm>
            <a:off x="2263750" y="531674"/>
            <a:ext cx="181461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B45608"/>
                </a:solidFill>
                <a:latin typeface="Arial" charset="0"/>
              </a:rPr>
              <a:t>GAPS</a:t>
            </a:r>
            <a:endParaRPr lang="en-US" sz="900" dirty="0">
              <a:solidFill>
                <a:srgbClr val="B45608"/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Lack of appropriate data validations for enhanced data quality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ssue description is not effectively linked with Departments during Reporting</a:t>
            </a:r>
          </a:p>
        </p:txBody>
      </p:sp>
      <p:sp>
        <p:nvSpPr>
          <p:cNvPr id="82" name="Rectangle 81"/>
          <p:cNvSpPr/>
          <p:nvPr/>
        </p:nvSpPr>
        <p:spPr>
          <a:xfrm>
            <a:off x="177541" y="531674"/>
            <a:ext cx="191739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B45608"/>
                </a:solidFill>
                <a:latin typeface="Arial" charset="0"/>
              </a:rPr>
              <a:t>BACKGROUND</a:t>
            </a:r>
            <a:endParaRPr lang="en-US" sz="900" dirty="0">
              <a:solidFill>
                <a:srgbClr val="B45608"/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Service Director dashboard is used to report issues flagged by the Service Director indicating Business at risk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Based on data from BNYM SharePoint &amp; RAG/Business at Risk (based on Engage/Salesforce)</a:t>
            </a:r>
          </a:p>
        </p:txBody>
      </p:sp>
      <p:sp>
        <p:nvSpPr>
          <p:cNvPr id="55" name="Oval 54"/>
          <p:cNvSpPr/>
          <p:nvPr/>
        </p:nvSpPr>
        <p:spPr>
          <a:xfrm>
            <a:off x="1351702" y="2843312"/>
            <a:ext cx="152400" cy="153888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3" name="Oval 62"/>
          <p:cNvSpPr/>
          <p:nvPr/>
        </p:nvSpPr>
        <p:spPr>
          <a:xfrm>
            <a:off x="1351702" y="4646712"/>
            <a:ext cx="152400" cy="153888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C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805602" y="4857690"/>
            <a:ext cx="9459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</a:rPr>
              <a:t>Topic Modelling using LDA</a:t>
            </a:r>
          </a:p>
        </p:txBody>
      </p:sp>
      <p:sp>
        <p:nvSpPr>
          <p:cNvPr id="83" name="Rectangle 82"/>
          <p:cNvSpPr/>
          <p:nvPr/>
        </p:nvSpPr>
        <p:spPr>
          <a:xfrm>
            <a:off x="818056" y="3027402"/>
            <a:ext cx="101218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</a:rPr>
              <a:t>Inverse Document Frequency</a:t>
            </a:r>
          </a:p>
        </p:txBody>
      </p:sp>
      <p:cxnSp>
        <p:nvCxnSpPr>
          <p:cNvPr id="84" name="Straight Connector 83"/>
          <p:cNvCxnSpPr/>
          <p:nvPr/>
        </p:nvCxnSpPr>
        <p:spPr>
          <a:xfrm>
            <a:off x="6420036" y="2286000"/>
            <a:ext cx="0" cy="426720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4099958" y="2311063"/>
            <a:ext cx="256032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Oval 85"/>
          <p:cNvSpPr/>
          <p:nvPr/>
        </p:nvSpPr>
        <p:spPr>
          <a:xfrm>
            <a:off x="3990762" y="2272963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6597831" y="4768096"/>
            <a:ext cx="2393770" cy="1169551"/>
          </a:xfrm>
          <a:prstGeom prst="rect">
            <a:avLst/>
          </a:prstGeom>
          <a:solidFill>
            <a:srgbClr val="008C95"/>
          </a:solidFill>
          <a:ln w="3175">
            <a:noFill/>
            <a:prstDash val="sysDot"/>
          </a:ln>
        </p:spPr>
        <p:txBody>
          <a:bodyPr wrap="square" rtlCol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en-US" sz="1000" dirty="0">
              <a:solidFill>
                <a:prstClr val="white"/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prstClr val="white"/>
                </a:solidFill>
                <a:latin typeface="Arial" charset="0"/>
              </a:rPr>
              <a:t>Need</a:t>
            </a:r>
            <a:endParaRPr lang="en-US" sz="1000" dirty="0">
              <a:solidFill>
                <a:prstClr val="white"/>
              </a:solidFill>
              <a:latin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n-US" sz="1000" dirty="0">
                <a:solidFill>
                  <a:prstClr val="white"/>
                </a:solidFill>
                <a:latin typeface="Arial" charset="0"/>
              </a:rPr>
              <a:t>SME expertise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n-US" sz="1000" dirty="0">
                <a:solidFill>
                  <a:prstClr val="white"/>
                </a:solidFill>
                <a:latin typeface="Arial" charset="0"/>
              </a:rPr>
              <a:t>RAG detail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n-US" sz="1000" dirty="0">
                <a:solidFill>
                  <a:prstClr val="white"/>
                </a:solidFill>
                <a:latin typeface="Arial" charset="0"/>
              </a:rPr>
              <a:t>Consolidated data source / migration of relevant data to data warehouse (WIP)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960" y="4324458"/>
            <a:ext cx="320040" cy="320040"/>
          </a:xfrm>
          <a:prstGeom prst="rect">
            <a:avLst/>
          </a:prstGeom>
        </p:spPr>
      </p:pic>
      <p:sp>
        <p:nvSpPr>
          <p:cNvPr id="89" name="Rectangle 88"/>
          <p:cNvSpPr/>
          <p:nvPr/>
        </p:nvSpPr>
        <p:spPr>
          <a:xfrm>
            <a:off x="6614160" y="1905000"/>
            <a:ext cx="2377440" cy="938719"/>
          </a:xfrm>
          <a:prstGeom prst="rect">
            <a:avLst/>
          </a:prstGeom>
          <a:noFill/>
          <a:ln w="3175">
            <a:noFill/>
            <a:prstDash val="sysDot"/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dentified different issues reported against BNY product / service  offering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Topic Modeling discovers latent themes flowing through the reported issues</a:t>
            </a: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0887" y="4107802"/>
            <a:ext cx="2991395" cy="2294770"/>
          </a:xfrm>
          <a:prstGeom prst="rect">
            <a:avLst/>
          </a:prstGeom>
        </p:spPr>
      </p:pic>
      <p:cxnSp>
        <p:nvCxnSpPr>
          <p:cNvPr id="44" name="Straight Arrow Connector 43"/>
          <p:cNvCxnSpPr/>
          <p:nvPr/>
        </p:nvCxnSpPr>
        <p:spPr>
          <a:xfrm>
            <a:off x="4359948" y="2768263"/>
            <a:ext cx="228600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H="1" flipV="1">
            <a:off x="4348902" y="2768263"/>
            <a:ext cx="2168" cy="151709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615593"/>
              </p:ext>
            </p:extLst>
          </p:nvPr>
        </p:nvGraphicFramePr>
        <p:xfrm>
          <a:off x="6671322" y="3062174"/>
          <a:ext cx="2387600" cy="1127760"/>
        </p:xfrm>
        <a:graphic>
          <a:graphicData uri="http://schemas.openxmlformats.org/drawingml/2006/table">
            <a:tbl>
              <a:tblPr/>
              <a:tblGrid>
                <a:gridCol w="1193800"/>
                <a:gridCol w="1193800"/>
              </a:tblGrid>
              <a:tr h="225552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CD6209"/>
                          </a:solidFill>
                          <a:effectLst/>
                          <a:latin typeface="Calibri"/>
                        </a:rPr>
                        <a:t>Reporting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CD6209"/>
                          </a:solidFill>
                          <a:effectLst/>
                          <a:latin typeface="Calibri"/>
                        </a:rPr>
                        <a:t>Fund Accounting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5552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CD6209"/>
                          </a:solidFill>
                          <a:effectLst/>
                          <a:latin typeface="Calibri"/>
                        </a:rPr>
                        <a:t>Technology Migra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CD6209"/>
                          </a:solidFill>
                          <a:effectLst/>
                          <a:latin typeface="Calibri"/>
                        </a:rPr>
                        <a:t>Corporate Ac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5552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CD6209"/>
                          </a:solidFill>
                          <a:effectLst/>
                          <a:latin typeface="Calibri"/>
                        </a:rPr>
                        <a:t>ETF Servic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CD6209"/>
                          </a:solidFill>
                          <a:effectLst/>
                          <a:latin typeface="Calibri"/>
                        </a:rPr>
                        <a:t>Billing / Invoice</a:t>
                      </a:r>
                      <a:endParaRPr lang="en-US" sz="900" b="0" i="0" u="none" strike="noStrike" dirty="0">
                        <a:solidFill>
                          <a:srgbClr val="CD6209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5552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CD6209"/>
                          </a:solidFill>
                          <a:effectLst/>
                          <a:latin typeface="Calibri"/>
                        </a:rPr>
                        <a:t>Custody Accoun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CD6209"/>
                          </a:solidFill>
                          <a:effectLst/>
                          <a:latin typeface="Calibri"/>
                        </a:rPr>
                        <a:t>Client Servic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5552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CD6209"/>
                          </a:solidFill>
                          <a:effectLst/>
                          <a:latin typeface="Calibri"/>
                        </a:rPr>
                        <a:t>NAV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CD6209"/>
                          </a:solidFill>
                          <a:effectLst/>
                          <a:latin typeface="Calibri"/>
                        </a:rPr>
                        <a:t>Asset Servicing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620522" y="2846274"/>
            <a:ext cx="21412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dentified categories with issues</a:t>
            </a:r>
          </a:p>
        </p:txBody>
      </p:sp>
      <p:cxnSp>
        <p:nvCxnSpPr>
          <p:cNvPr id="47" name="Straight Connector 46"/>
          <p:cNvCxnSpPr/>
          <p:nvPr/>
        </p:nvCxnSpPr>
        <p:spPr>
          <a:xfrm>
            <a:off x="74052" y="457200"/>
            <a:ext cx="896112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/>
          <p:cNvSpPr/>
          <p:nvPr/>
        </p:nvSpPr>
        <p:spPr>
          <a:xfrm>
            <a:off x="4301924" y="4239380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46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Picture 8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4695" y="0"/>
            <a:ext cx="1126905" cy="504608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-1" y="57090"/>
            <a:ext cx="77804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prstClr val="black">
                    <a:lumMod val="95000"/>
                    <a:lumOff val="5000"/>
                  </a:prstClr>
                </a:solidFill>
                <a:latin typeface="Arial" charset="0"/>
              </a:rPr>
              <a:t>Service Director Dashboard – </a:t>
            </a:r>
            <a:r>
              <a:rPr lang="en-US" sz="20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charset="0"/>
              </a:rPr>
              <a:t>CIS Text </a:t>
            </a:r>
            <a:r>
              <a:rPr lang="en-US" sz="2000" dirty="0">
                <a:solidFill>
                  <a:prstClr val="black">
                    <a:lumMod val="95000"/>
                    <a:lumOff val="5000"/>
                  </a:prstClr>
                </a:solidFill>
                <a:latin typeface="Arial" charset="0"/>
              </a:rPr>
              <a:t>Analytics (Issue Categories)</a:t>
            </a:r>
          </a:p>
        </p:txBody>
      </p:sp>
      <p:sp>
        <p:nvSpPr>
          <p:cNvPr id="73" name="Rounded Rectangle 72"/>
          <p:cNvSpPr/>
          <p:nvPr/>
        </p:nvSpPr>
        <p:spPr>
          <a:xfrm>
            <a:off x="947847" y="796878"/>
            <a:ext cx="2349500" cy="1295400"/>
          </a:xfrm>
          <a:prstGeom prst="roundRect">
            <a:avLst>
              <a:gd name="adj" fmla="val 466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Reporting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42" name="Rounded Rectangle 141"/>
          <p:cNvSpPr/>
          <p:nvPr/>
        </p:nvSpPr>
        <p:spPr>
          <a:xfrm>
            <a:off x="947847" y="3565478"/>
            <a:ext cx="2349500" cy="1295400"/>
          </a:xfrm>
          <a:prstGeom prst="roundRect">
            <a:avLst>
              <a:gd name="adj" fmla="val 466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Fund Accounting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43" name="Rounded Rectangle 142"/>
          <p:cNvSpPr/>
          <p:nvPr/>
        </p:nvSpPr>
        <p:spPr>
          <a:xfrm>
            <a:off x="3386247" y="796878"/>
            <a:ext cx="2349500" cy="1295400"/>
          </a:xfrm>
          <a:prstGeom prst="roundRect">
            <a:avLst>
              <a:gd name="adj" fmla="val 466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ETF Services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44" name="Rounded Rectangle 143"/>
          <p:cNvSpPr/>
          <p:nvPr/>
        </p:nvSpPr>
        <p:spPr>
          <a:xfrm>
            <a:off x="3386247" y="3565478"/>
            <a:ext cx="2349500" cy="1295400"/>
          </a:xfrm>
          <a:prstGeom prst="roundRect">
            <a:avLst>
              <a:gd name="adj" fmla="val 466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Corporate Action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47" name="Rounded Rectangle 146"/>
          <p:cNvSpPr/>
          <p:nvPr/>
        </p:nvSpPr>
        <p:spPr>
          <a:xfrm>
            <a:off x="5850047" y="3564335"/>
            <a:ext cx="2349500" cy="1295400"/>
          </a:xfrm>
          <a:prstGeom prst="roundRect">
            <a:avLst>
              <a:gd name="adj" fmla="val 466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Client Service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48" name="Rounded Rectangle 147"/>
          <p:cNvSpPr/>
          <p:nvPr/>
        </p:nvSpPr>
        <p:spPr>
          <a:xfrm>
            <a:off x="5837347" y="796878"/>
            <a:ext cx="2349500" cy="1295400"/>
          </a:xfrm>
          <a:prstGeom prst="roundRect">
            <a:avLst>
              <a:gd name="adj" fmla="val 466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Technology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49" name="Rounded Rectangle 148"/>
          <p:cNvSpPr/>
          <p:nvPr/>
        </p:nvSpPr>
        <p:spPr>
          <a:xfrm>
            <a:off x="947847" y="2168478"/>
            <a:ext cx="2349500" cy="1295400"/>
          </a:xfrm>
          <a:prstGeom prst="roundRect">
            <a:avLst>
              <a:gd name="adj" fmla="val 466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Custody Accounts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50" name="Rounded Rectangle 149"/>
          <p:cNvSpPr/>
          <p:nvPr/>
        </p:nvSpPr>
        <p:spPr>
          <a:xfrm>
            <a:off x="5850047" y="2168478"/>
            <a:ext cx="2349500" cy="1295400"/>
          </a:xfrm>
          <a:prstGeom prst="roundRect">
            <a:avLst>
              <a:gd name="adj" fmla="val 466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NAV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51" name="Rounded Rectangle 150"/>
          <p:cNvSpPr/>
          <p:nvPr/>
        </p:nvSpPr>
        <p:spPr>
          <a:xfrm>
            <a:off x="3396153" y="2181178"/>
            <a:ext cx="2349500" cy="1295400"/>
          </a:xfrm>
          <a:prstGeom prst="roundRect">
            <a:avLst>
              <a:gd name="adj" fmla="val 466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Billing / Invoice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52" name="Rounded Rectangle 151"/>
          <p:cNvSpPr/>
          <p:nvPr/>
        </p:nvSpPr>
        <p:spPr>
          <a:xfrm>
            <a:off x="3402365" y="4962478"/>
            <a:ext cx="2349500" cy="1295400"/>
          </a:xfrm>
          <a:prstGeom prst="roundRect">
            <a:avLst>
              <a:gd name="adj" fmla="val 4667"/>
            </a:avLst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Asset Servicing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2949201" y="1355678"/>
            <a:ext cx="386246" cy="711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48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98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42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2636301" y="817083"/>
            <a:ext cx="737246" cy="4040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C00000"/>
                </a:solidFill>
                <a:latin typeface="Arial" charset="0"/>
              </a:rPr>
              <a:t>17</a:t>
            </a:r>
            <a:r>
              <a:rPr lang="en-US" sz="1100" b="1" dirty="0">
                <a:solidFill>
                  <a:srgbClr val="C00000"/>
                </a:solidFill>
                <a:latin typeface="Arial" charset="0"/>
              </a:rPr>
              <a:t>%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5083559" y="784178"/>
            <a:ext cx="753788" cy="4445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C00000"/>
                </a:solidFill>
                <a:latin typeface="Arial" charset="0"/>
              </a:rPr>
              <a:t>11</a:t>
            </a:r>
            <a:r>
              <a:rPr lang="en-US" sz="1100" b="1" dirty="0">
                <a:solidFill>
                  <a:srgbClr val="C00000"/>
                </a:solidFill>
                <a:latin typeface="Arial" charset="0"/>
              </a:rPr>
              <a:t> %</a:t>
            </a:r>
            <a:endParaRPr lang="en-US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2852201" y="2225628"/>
            <a:ext cx="559446" cy="4445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C00000"/>
                </a:solidFill>
                <a:latin typeface="Arial" charset="0"/>
              </a:rPr>
              <a:t>9</a:t>
            </a:r>
            <a:r>
              <a:rPr lang="en-US" sz="1100" b="1" dirty="0">
                <a:solidFill>
                  <a:srgbClr val="C00000"/>
                </a:solidFill>
                <a:latin typeface="Arial" charset="0"/>
              </a:rPr>
              <a:t>%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7755047" y="2225628"/>
            <a:ext cx="673100" cy="4445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C00000"/>
                </a:solidFill>
                <a:latin typeface="Arial" charset="0"/>
              </a:rPr>
              <a:t>8</a:t>
            </a:r>
            <a:r>
              <a:rPr lang="en-US" sz="1100" b="1" dirty="0">
                <a:solidFill>
                  <a:srgbClr val="C00000"/>
                </a:solidFill>
                <a:latin typeface="Arial" charset="0"/>
              </a:rPr>
              <a:t>%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2839501" y="3590878"/>
            <a:ext cx="572146" cy="4445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F79646">
                    <a:lumMod val="75000"/>
                  </a:srgbClr>
                </a:solidFill>
                <a:latin typeface="Arial" charset="0"/>
              </a:rPr>
              <a:t>5</a:t>
            </a:r>
            <a:r>
              <a:rPr lang="en-US" sz="1100" b="1" dirty="0">
                <a:solidFill>
                  <a:srgbClr val="F79646">
                    <a:lumMod val="75000"/>
                  </a:srgbClr>
                </a:solidFill>
                <a:latin typeface="Arial" charset="0"/>
              </a:rPr>
              <a:t>%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5291247" y="3590878"/>
            <a:ext cx="673100" cy="4445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F79646">
                    <a:lumMod val="75000"/>
                  </a:srgbClr>
                </a:solidFill>
                <a:latin typeface="Arial" charset="0"/>
              </a:rPr>
              <a:t>4</a:t>
            </a:r>
            <a:r>
              <a:rPr lang="en-US" sz="1100" b="1" dirty="0">
                <a:solidFill>
                  <a:srgbClr val="F79646">
                    <a:lumMod val="75000"/>
                  </a:srgbClr>
                </a:solidFill>
                <a:latin typeface="Arial" charset="0"/>
              </a:rPr>
              <a:t>%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7742347" y="3577035"/>
            <a:ext cx="673100" cy="4445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F79646">
                    <a:lumMod val="75000"/>
                  </a:srgbClr>
                </a:solidFill>
                <a:latin typeface="Arial" charset="0"/>
              </a:rPr>
              <a:t>3</a:t>
            </a:r>
            <a:r>
              <a:rPr lang="en-US" sz="1100" b="1" dirty="0">
                <a:solidFill>
                  <a:srgbClr val="F79646">
                    <a:lumMod val="75000"/>
                  </a:srgbClr>
                </a:solidFill>
                <a:latin typeface="Arial" charset="0"/>
              </a:rPr>
              <a:t>%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7534659" y="771478"/>
            <a:ext cx="753788" cy="4445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C00000"/>
                </a:solidFill>
                <a:latin typeface="Arial" charset="0"/>
              </a:rPr>
              <a:t>11</a:t>
            </a:r>
            <a:r>
              <a:rPr lang="en-US" sz="1100" b="1" dirty="0">
                <a:solidFill>
                  <a:srgbClr val="C00000"/>
                </a:solidFill>
                <a:latin typeface="Arial" charset="0"/>
              </a:rPr>
              <a:t> %</a:t>
            </a:r>
            <a:endParaRPr lang="en-US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5300772" y="2282778"/>
            <a:ext cx="673100" cy="4445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C00000"/>
                </a:solidFill>
                <a:latin typeface="Arial" charset="0"/>
              </a:rPr>
              <a:t>9</a:t>
            </a:r>
            <a:r>
              <a:rPr lang="en-US" sz="1100" b="1" dirty="0">
                <a:solidFill>
                  <a:srgbClr val="C00000"/>
                </a:solidFill>
                <a:latin typeface="Arial" charset="0"/>
              </a:rPr>
              <a:t>%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5320065" y="4992450"/>
            <a:ext cx="673100" cy="4445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solidFill>
                  <a:srgbClr val="F79646">
                    <a:lumMod val="75000"/>
                  </a:srgbClr>
                </a:solidFill>
                <a:latin typeface="Arial" charset="0"/>
              </a:rPr>
              <a:t>1</a:t>
            </a:r>
            <a:r>
              <a:rPr lang="en-US" sz="1100" b="1" dirty="0">
                <a:solidFill>
                  <a:srgbClr val="F79646">
                    <a:lumMod val="75000"/>
                  </a:srgbClr>
                </a:solidFill>
                <a:latin typeface="Arial" charset="0"/>
              </a:rPr>
              <a:t>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973246" y="1203278"/>
            <a:ext cx="1703283" cy="812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ncorrect Reporting</a:t>
            </a:r>
          </a:p>
          <a:p>
            <a:pPr marL="171450" indent="-1714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Tread related reporting delay or incorrect</a:t>
            </a:r>
          </a:p>
          <a:p>
            <a:pPr marL="171450" indent="-1714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ncomplete reporting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380273" y="1342978"/>
            <a:ext cx="521589" cy="7132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10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109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06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411647" y="1190578"/>
            <a:ext cx="1700784" cy="812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90000"/>
              </a:lnSpc>
              <a:buFont typeface="Courier New" panose="02070309020205020404" pitchFamily="49" charset="0"/>
              <a:buChar char="o"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ETF Basket related issues (NAV, Revision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Advisor Shares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828199" y="1342978"/>
            <a:ext cx="384048" cy="7132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40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61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18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901863" y="1152478"/>
            <a:ext cx="1700784" cy="863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90000"/>
              </a:lnSpc>
              <a:buFont typeface="Courier New" panose="02070309020205020404" pitchFamily="49" charset="0"/>
              <a:buChar char="o"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M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gration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ssues (to GSP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E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ffect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on business due to migra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C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onnectivity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and knowledge sharing with GSP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951399" y="2698703"/>
            <a:ext cx="384048" cy="7132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30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48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17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73247" y="2549478"/>
            <a:ext cx="1700784" cy="812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90000"/>
              </a:lnSpc>
              <a:buFont typeface="Courier New" panose="02070309020205020404" pitchFamily="49" charset="0"/>
              <a:buChar char="o"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M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ssed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nformation (incorrect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Custody serv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F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ees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863124" y="2701878"/>
            <a:ext cx="384048" cy="7132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22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55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08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875447" y="2524078"/>
            <a:ext cx="1700784" cy="812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90000"/>
              </a:lnSpc>
              <a:buFont typeface="Courier New" panose="02070309020205020404" pitchFamily="49" charset="0"/>
              <a:buChar char="o"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NAV Erro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O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verstated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NAV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376972" y="2749503"/>
            <a:ext cx="384048" cy="7132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32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37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12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447588" y="2600278"/>
            <a:ext cx="1700784" cy="812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90000"/>
              </a:lnSpc>
              <a:buFont typeface="Courier New" panose="02070309020205020404" pitchFamily="49" charset="0"/>
              <a:buChar char="o"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D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elay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n billing/invoic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ncorrect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nvoice/billing due to syste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Fee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396265" y="5464128"/>
            <a:ext cx="384048" cy="7132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03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10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01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66881" y="5394278"/>
            <a:ext cx="1700784" cy="812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90000"/>
              </a:lnSpc>
              <a:buFont typeface="Courier New" panose="02070309020205020404" pitchFamily="49" charset="0"/>
              <a:buChar char="o"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FX Issu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Timely processing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398393" y="4070303"/>
            <a:ext cx="384048" cy="7132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09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35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02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411647" y="3997278"/>
            <a:ext cx="1700784" cy="812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90000"/>
              </a:lnSpc>
              <a:buFont typeface="Courier New" panose="02070309020205020404" pitchFamily="49" charset="0"/>
              <a:buChar char="o"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M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ssed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or delay in inform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Services related issues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959993" y="4067128"/>
            <a:ext cx="384048" cy="7132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10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38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03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973247" y="3997278"/>
            <a:ext cx="1700784" cy="812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90000"/>
              </a:lnSpc>
              <a:buFont typeface="Courier New" panose="02070309020205020404" pitchFamily="49" charset="0"/>
              <a:buChar char="o"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P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ricing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erro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Trade related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853599" y="4072335"/>
            <a:ext cx="434848" cy="7132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10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109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06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875447" y="3958035"/>
            <a:ext cx="1700784" cy="812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171450" indent="-171450">
              <a:lnSpc>
                <a:spcPct val="90000"/>
              </a:lnSpc>
              <a:buFont typeface="Courier New" panose="02070309020205020404" pitchFamily="49" charset="0"/>
              <a:buChar char="o"/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L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ack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of timely respons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N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ot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happy with servic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ncorrect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</a:rPr>
              <a:t>information</a:t>
            </a:r>
          </a:p>
        </p:txBody>
      </p:sp>
      <p:sp>
        <p:nvSpPr>
          <p:cNvPr id="2" name="Oval 1"/>
          <p:cNvSpPr/>
          <p:nvPr/>
        </p:nvSpPr>
        <p:spPr>
          <a:xfrm>
            <a:off x="2796801" y="1393778"/>
            <a:ext cx="152400" cy="1524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1" name="Oval 50"/>
          <p:cNvSpPr/>
          <p:nvPr/>
        </p:nvSpPr>
        <p:spPr>
          <a:xfrm>
            <a:off x="2796801" y="1609678"/>
            <a:ext cx="152400" cy="1524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2" name="Oval 51"/>
          <p:cNvSpPr/>
          <p:nvPr/>
        </p:nvSpPr>
        <p:spPr>
          <a:xfrm>
            <a:off x="2796801" y="1838278"/>
            <a:ext cx="152400" cy="152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5" name="Oval 54"/>
          <p:cNvSpPr/>
          <p:nvPr/>
        </p:nvSpPr>
        <p:spPr>
          <a:xfrm>
            <a:off x="5240447" y="1390603"/>
            <a:ext cx="152400" cy="1524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6" name="Oval 55"/>
          <p:cNvSpPr/>
          <p:nvPr/>
        </p:nvSpPr>
        <p:spPr>
          <a:xfrm>
            <a:off x="5240447" y="1606503"/>
            <a:ext cx="152400" cy="1524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7" name="Oval 56"/>
          <p:cNvSpPr/>
          <p:nvPr/>
        </p:nvSpPr>
        <p:spPr>
          <a:xfrm>
            <a:off x="5240447" y="1835103"/>
            <a:ext cx="152400" cy="152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8" name="Oval 57"/>
          <p:cNvSpPr/>
          <p:nvPr/>
        </p:nvSpPr>
        <p:spPr>
          <a:xfrm>
            <a:off x="7678847" y="1390603"/>
            <a:ext cx="152400" cy="1524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/>
        </p:nvSpPr>
        <p:spPr>
          <a:xfrm>
            <a:off x="7678847" y="1606503"/>
            <a:ext cx="152400" cy="1524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0" name="Oval 59"/>
          <p:cNvSpPr/>
          <p:nvPr/>
        </p:nvSpPr>
        <p:spPr>
          <a:xfrm>
            <a:off x="7678847" y="1835103"/>
            <a:ext cx="152400" cy="152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8" name="Oval 67"/>
          <p:cNvSpPr/>
          <p:nvPr/>
        </p:nvSpPr>
        <p:spPr>
          <a:xfrm>
            <a:off x="2802047" y="2746328"/>
            <a:ext cx="152400" cy="1524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9" name="Oval 68"/>
          <p:cNvSpPr/>
          <p:nvPr/>
        </p:nvSpPr>
        <p:spPr>
          <a:xfrm>
            <a:off x="2802047" y="2962228"/>
            <a:ext cx="152400" cy="1524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0" name="Oval 69"/>
          <p:cNvSpPr/>
          <p:nvPr/>
        </p:nvSpPr>
        <p:spPr>
          <a:xfrm>
            <a:off x="2802047" y="3190828"/>
            <a:ext cx="152400" cy="152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1" name="Oval 70"/>
          <p:cNvSpPr/>
          <p:nvPr/>
        </p:nvSpPr>
        <p:spPr>
          <a:xfrm>
            <a:off x="7709493" y="2743153"/>
            <a:ext cx="152400" cy="1524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4" name="Oval 73"/>
          <p:cNvSpPr/>
          <p:nvPr/>
        </p:nvSpPr>
        <p:spPr>
          <a:xfrm>
            <a:off x="7709493" y="2959053"/>
            <a:ext cx="152400" cy="1524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5" name="Oval 74"/>
          <p:cNvSpPr/>
          <p:nvPr/>
        </p:nvSpPr>
        <p:spPr>
          <a:xfrm>
            <a:off x="7709493" y="3187653"/>
            <a:ext cx="152400" cy="152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6" name="Oval 75"/>
          <p:cNvSpPr/>
          <p:nvPr/>
        </p:nvSpPr>
        <p:spPr>
          <a:xfrm>
            <a:off x="5229818" y="2793953"/>
            <a:ext cx="152400" cy="1524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7" name="Oval 76"/>
          <p:cNvSpPr/>
          <p:nvPr/>
        </p:nvSpPr>
        <p:spPr>
          <a:xfrm>
            <a:off x="5229818" y="3009853"/>
            <a:ext cx="152400" cy="1524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8" name="Oval 77"/>
          <p:cNvSpPr/>
          <p:nvPr/>
        </p:nvSpPr>
        <p:spPr>
          <a:xfrm>
            <a:off x="5229818" y="3238453"/>
            <a:ext cx="152400" cy="152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9" name="Oval 78"/>
          <p:cNvSpPr/>
          <p:nvPr/>
        </p:nvSpPr>
        <p:spPr>
          <a:xfrm>
            <a:off x="2802047" y="4117928"/>
            <a:ext cx="152400" cy="1524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0" name="Oval 79"/>
          <p:cNvSpPr/>
          <p:nvPr/>
        </p:nvSpPr>
        <p:spPr>
          <a:xfrm>
            <a:off x="2802047" y="4333828"/>
            <a:ext cx="152400" cy="1524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Oval 80"/>
          <p:cNvSpPr/>
          <p:nvPr/>
        </p:nvSpPr>
        <p:spPr>
          <a:xfrm>
            <a:off x="2802047" y="4562428"/>
            <a:ext cx="152400" cy="152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2" name="Oval 81"/>
          <p:cNvSpPr/>
          <p:nvPr/>
        </p:nvSpPr>
        <p:spPr>
          <a:xfrm>
            <a:off x="5245693" y="4114753"/>
            <a:ext cx="152400" cy="1524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3" name="Oval 82"/>
          <p:cNvSpPr/>
          <p:nvPr/>
        </p:nvSpPr>
        <p:spPr>
          <a:xfrm>
            <a:off x="5245693" y="4330653"/>
            <a:ext cx="152400" cy="1524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4" name="Oval 83"/>
          <p:cNvSpPr/>
          <p:nvPr/>
        </p:nvSpPr>
        <p:spPr>
          <a:xfrm>
            <a:off x="5245693" y="4559253"/>
            <a:ext cx="152400" cy="152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5" name="Oval 84"/>
          <p:cNvSpPr/>
          <p:nvPr/>
        </p:nvSpPr>
        <p:spPr>
          <a:xfrm>
            <a:off x="5249111" y="5511753"/>
            <a:ext cx="152400" cy="1524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6" name="Oval 85"/>
          <p:cNvSpPr/>
          <p:nvPr/>
        </p:nvSpPr>
        <p:spPr>
          <a:xfrm>
            <a:off x="5249111" y="5727653"/>
            <a:ext cx="152400" cy="1524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7" name="Oval 86"/>
          <p:cNvSpPr/>
          <p:nvPr/>
        </p:nvSpPr>
        <p:spPr>
          <a:xfrm>
            <a:off x="5249111" y="5956253"/>
            <a:ext cx="152400" cy="152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7" name="Oval 96"/>
          <p:cNvSpPr/>
          <p:nvPr/>
        </p:nvSpPr>
        <p:spPr>
          <a:xfrm>
            <a:off x="7704247" y="4123135"/>
            <a:ext cx="152400" cy="1524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8" name="Oval 97"/>
          <p:cNvSpPr/>
          <p:nvPr/>
        </p:nvSpPr>
        <p:spPr>
          <a:xfrm>
            <a:off x="7704247" y="4339035"/>
            <a:ext cx="152400" cy="1524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9" name="Oval 98"/>
          <p:cNvSpPr/>
          <p:nvPr/>
        </p:nvSpPr>
        <p:spPr>
          <a:xfrm>
            <a:off x="7704247" y="4567635"/>
            <a:ext cx="152400" cy="1524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9" name="Straight Connector 88"/>
          <p:cNvCxnSpPr/>
          <p:nvPr/>
        </p:nvCxnSpPr>
        <p:spPr>
          <a:xfrm>
            <a:off x="74052" y="457200"/>
            <a:ext cx="896112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556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NYM Light">
  <a:themeElements>
    <a:clrScheme name="Custom 207">
      <a:dk1>
        <a:srgbClr val="4B4B4B"/>
      </a:dk1>
      <a:lt1>
        <a:srgbClr val="FFFFFF"/>
      </a:lt1>
      <a:dk2>
        <a:srgbClr val="4B4B4B"/>
      </a:dk2>
      <a:lt2>
        <a:srgbClr val="000000"/>
      </a:lt2>
      <a:accent1>
        <a:srgbClr val="FFD700"/>
      </a:accent1>
      <a:accent2>
        <a:srgbClr val="FFA100"/>
      </a:accent2>
      <a:accent3>
        <a:srgbClr val="00B2EF"/>
      </a:accent3>
      <a:accent4>
        <a:srgbClr val="69BE28"/>
      </a:accent4>
      <a:accent5>
        <a:srgbClr val="1EBFB3"/>
      </a:accent5>
      <a:accent6>
        <a:srgbClr val="E65032"/>
      </a:accent6>
      <a:hlink>
        <a:srgbClr val="00B2EF"/>
      </a:hlink>
      <a:folHlink>
        <a:srgbClr val="00B2E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b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lnSpc>
            <a:spcPct val="90000"/>
          </a:lnSpc>
          <a:defRPr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349</Words>
  <Application>Microsoft Office PowerPoint</Application>
  <PresentationFormat>On-screen Show (4:3)</PresentationFormat>
  <Paragraphs>142</Paragraphs>
  <Slides>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6" baseType="lpstr">
      <vt:lpstr>Office Theme</vt:lpstr>
      <vt:lpstr>BNYM Light</vt:lpstr>
      <vt:lpstr>think-cell Slide</vt:lpstr>
      <vt:lpstr>PowerPoint Presentation</vt:lpstr>
      <vt:lpstr>PowerPoint Presentation</vt:lpstr>
      <vt:lpstr>PowerPoint Presentation</vt:lpstr>
    </vt:vector>
  </TitlesOfParts>
  <Company>The Bank of New York Mellon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ngh, Pankaj</dc:creator>
  <cp:lastModifiedBy>Joshi, Abhay Jayant</cp:lastModifiedBy>
  <cp:revision>2</cp:revision>
  <dcterms:created xsi:type="dcterms:W3CDTF">2015-10-22T11:36:19Z</dcterms:created>
  <dcterms:modified xsi:type="dcterms:W3CDTF">2016-09-20T10:02:54Z</dcterms:modified>
</cp:coreProperties>
</file>